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6" r:id="rId5"/>
    <p:sldMasterId id="2147483673" r:id="rId6"/>
    <p:sldMasterId id="2147483678" r:id="rId7"/>
  </p:sldMasterIdLst>
  <p:notesMasterIdLst>
    <p:notesMasterId r:id="rId29"/>
  </p:notesMasterIdLst>
  <p:sldIdLst>
    <p:sldId id="2147472003" r:id="rId8"/>
    <p:sldId id="270" r:id="rId9"/>
    <p:sldId id="278" r:id="rId10"/>
    <p:sldId id="321" r:id="rId11"/>
    <p:sldId id="2147471939" r:id="rId12"/>
    <p:sldId id="2147472001" r:id="rId13"/>
    <p:sldId id="2147471993" r:id="rId14"/>
    <p:sldId id="2147472002" r:id="rId15"/>
    <p:sldId id="2147471998" r:id="rId16"/>
    <p:sldId id="2147471995" r:id="rId17"/>
    <p:sldId id="2147471972" r:id="rId18"/>
    <p:sldId id="2147471974" r:id="rId19"/>
    <p:sldId id="2147472000" r:id="rId20"/>
    <p:sldId id="2147471979" r:id="rId21"/>
    <p:sldId id="2147471980" r:id="rId22"/>
    <p:sldId id="2147471981" r:id="rId23"/>
    <p:sldId id="2147471982" r:id="rId24"/>
    <p:sldId id="2147471983" r:id="rId25"/>
    <p:sldId id="2147471984" r:id="rId26"/>
    <p:sldId id="2147471973" r:id="rId27"/>
    <p:sldId id="2147471999" r:id="rId28"/>
  </p:sldIdLst>
  <p:sldSz cx="16256000" cy="9144000"/>
  <p:notesSz cx="16256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AE0001-7572-1BE0-1101-1FFAD721E5CF}" name="LAVILLE, Jerome" initials="LJ" userId="S::jerome.laville@capgemini.com::0b14dc2c-f945-4837-95c7-9c80f376aa8d" providerId="AD"/>
  <p188:author id="{F4368CF0-1A32-D009-E37F-82ACAF3414A7}" name="FENG, Yucen" initials="FY" userId="S::yucen.a.feng@capgemini.com::4f43f1e6-0037-465e-b6c8-e0c81cd96f9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59E"/>
    <a:srgbClr val="FFE07D"/>
    <a:srgbClr val="FFC000"/>
    <a:srgbClr val="C35D09"/>
    <a:srgbClr val="F58223"/>
    <a:srgbClr val="984807"/>
    <a:srgbClr val="56B1CA"/>
    <a:srgbClr val="31859C"/>
    <a:srgbClr val="B17ED8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48" d="100"/>
          <a:sy n="48" d="100"/>
        </p:scale>
        <p:origin x="724" y="24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043738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9207500" y="0"/>
            <a:ext cx="7045325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FAED7B-AAFA-44EE-9CA3-1B52B637CB1F}" type="datetimeFigureOut">
              <a:rPr lang="en-GB" smtClean="0"/>
              <a:t>21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384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25600" y="4400550"/>
            <a:ext cx="130048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7043738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9207500" y="8685213"/>
            <a:ext cx="7045325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F4E16B-F770-4A1D-BB7A-00E8F6C13A94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22802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E23553-3E12-43A2-B8C8-20CBAD40D927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1012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F4E16B-F770-4A1D-BB7A-00E8F6C13A94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3663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696B5C-12A0-4042-B4D0-BD3B9A4F58C6}" type="slidenum">
              <a:rPr kumimoji="0" lang="pt-BR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t-BR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2855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0"/>
            <a:ext cx="13817600" cy="19202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0"/>
            <a:ext cx="11379200" cy="228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4766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88109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006B5C2B-B0BF-4136-9EC7-0E7F54D1D2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Numéro de diapositive">
            <a:extLst>
              <a:ext uri="{FF2B5EF4-FFF2-40B4-BE49-F238E27FC236}">
                <a16:creationId xmlns:a16="http://schemas.microsoft.com/office/drawing/2014/main" id="{1B505F7F-70F2-47DD-AB26-DDBC40AB4BB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863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T Strategy - Header &amp; Content - F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458C7E5-5EFE-4D6B-92D3-02ECEDE14C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25600" y="16933"/>
            <a:ext cx="13199533" cy="1185456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chemeClr val="bg1"/>
                </a:solidFill>
                <a:latin typeface="Ubuntu" panose="020B0504030602030204" pitchFamily="34" charset="0"/>
              </a:defRPr>
            </a:lvl1pPr>
          </a:lstStyle>
          <a:p>
            <a:r>
              <a:rPr lang="fr-FR" noProof="0"/>
              <a:t>HEAD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AC86401-D691-41F8-9021-05B5A1DBE8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79" y="8839200"/>
            <a:ext cx="12000000" cy="203200"/>
          </a:xfrm>
        </p:spPr>
        <p:txBody>
          <a:bodyPr>
            <a:normAutofit/>
          </a:bodyPr>
          <a:lstStyle>
            <a:lvl1pPr>
              <a:defRPr sz="933"/>
            </a:lvl1pPr>
          </a:lstStyle>
          <a:p>
            <a:pPr lvl="0"/>
            <a:r>
              <a:rPr lang="fr-FR" noProof="0"/>
              <a:t>Sources</a:t>
            </a:r>
          </a:p>
        </p:txBody>
      </p:sp>
      <p:sp>
        <p:nvSpPr>
          <p:cNvPr id="6" name="Numéro de diapositive">
            <a:extLst>
              <a:ext uri="{FF2B5EF4-FFF2-40B4-BE49-F238E27FC236}">
                <a16:creationId xmlns:a16="http://schemas.microsoft.com/office/drawing/2014/main" id="{3A2A49EA-FC17-4054-8DAE-79F38F57CE16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29419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3BC6E1-EDFD-4214-BCA0-B2D6772494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2000" y="1496484"/>
            <a:ext cx="12192000" cy="3183467"/>
          </a:xfrm>
        </p:spPr>
        <p:txBody>
          <a:bodyPr anchor="b"/>
          <a:lstStyle>
            <a:lvl1pPr algn="ctr">
              <a:defRPr sz="8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ECE5CF41-D3DA-43BB-9900-BE768F8858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2000" y="4802717"/>
            <a:ext cx="12192000" cy="2207683"/>
          </a:xfrm>
        </p:spPr>
        <p:txBody>
          <a:bodyPr/>
          <a:lstStyle>
            <a:lvl1pPr marL="0" indent="0" algn="ctr">
              <a:buNone/>
              <a:defRPr sz="3200"/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4EDB592-9811-4EE8-8784-BA0DCF4A5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192A032-E2C5-4ABA-B453-3F32B9028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EBF28A6-0031-417D-8527-DF1B0D92E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74928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D8B4F23-E504-4D98-998A-FC071B34F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F80DF0E-4565-461F-991B-F7AACDDFDA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38D1B63-927E-4259-8AA5-5AE64FAA7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9FC1414-D15E-496A-A5AC-EF6C52F1A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DED6375-2AD8-45BF-9E22-B02386B4B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89885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8BB6FCB-6B3F-421F-8023-789ED4118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9133" y="2279652"/>
            <a:ext cx="14020800" cy="3803649"/>
          </a:xfrm>
        </p:spPr>
        <p:txBody>
          <a:bodyPr anchor="b"/>
          <a:lstStyle>
            <a:lvl1pPr>
              <a:defRPr sz="8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EC3C410-4F8B-4B63-AF1E-E177234B00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9133" y="6119285"/>
            <a:ext cx="14020800" cy="2000249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626D50C-75D0-41F0-8B60-F1860568DF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9849449-BCF8-42C9-993C-5CEDC42971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6A63F92-529C-4123-A799-50EBD86D0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27797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472ACA3-A5CA-4354-AF75-62476EA51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B47B42A-ACEC-4B91-ADC0-F1BF9DEA4C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17600" y="2434167"/>
            <a:ext cx="6908800" cy="580178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6B94787-5538-4060-9171-F306C7AB8C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9600" y="2434167"/>
            <a:ext cx="6908800" cy="580178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65984AE3-0E19-45E6-AA5B-A8EF46919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CBB2B0B-6CBF-4E0C-BAA0-B4CBC0F10F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55D08583-5950-46C8-B5E1-EEDFA12E39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75407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8C1FC37-02D9-43C5-AC83-622D90843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717" y="486834"/>
            <a:ext cx="14020800" cy="1767417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8B47627-09F4-4F57-9CD2-C74DB86890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9718" y="2241551"/>
            <a:ext cx="6877049" cy="10985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2343D56-9F70-4EC1-B964-453B707336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9718" y="3340100"/>
            <a:ext cx="6877049" cy="491278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2A32F25-0C0B-448E-B285-9BC8CBA279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229600" y="2241551"/>
            <a:ext cx="6910917" cy="10985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1719D09E-AD17-42B2-9F31-7BDA62AB4E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229600" y="3340100"/>
            <a:ext cx="6910917" cy="491278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6D6AC35C-E00C-4AAB-B9DE-D3FD07198B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914DE6F-E429-44F1-8190-30037AB7E8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57A41E33-5C50-408E-B2A4-3FF13BB155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705878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9AAEB67-9984-4827-9FF0-C32BF8A50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EA87EB0-777F-4B10-8F8D-7A1777B1E1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3F713CE2-C018-475D-AE08-31DFFC1AA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62648E98-BB2C-4769-A6F5-06638A64C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0871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9473564-8C70-4FBF-8475-F3C18C8CBF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99158C3-551B-4EC3-BE14-F72D208F7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F536077-E05B-4540-95D6-3E1F6489D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6433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E5D0C6-2BF8-4BFC-AE5E-10754EA10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3" cy="2133600"/>
          </a:xfrm>
        </p:spPr>
        <p:txBody>
          <a:bodyPr anchor="b"/>
          <a:lstStyle>
            <a:lvl1pPr>
              <a:defRPr sz="4267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04D3503-6A97-446B-9B3F-99D371E4AE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0917" y="1316567"/>
            <a:ext cx="8229600" cy="6498167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3E6C172-3D42-44B8-B493-4564D03E0D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9718" y="2743200"/>
            <a:ext cx="5242983" cy="5082117"/>
          </a:xfr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76A4F66-7D2A-4F73-B243-74E3425BFA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01627B5-5AD3-48CF-ABDA-EBC930773A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34EEABA-9DE0-494B-A82D-573E90E11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1520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2B2AF31-21FD-450B-B395-8B0C133EF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718" y="609600"/>
            <a:ext cx="5242983" cy="2133600"/>
          </a:xfrm>
        </p:spPr>
        <p:txBody>
          <a:bodyPr anchor="b"/>
          <a:lstStyle>
            <a:lvl1pPr>
              <a:defRPr sz="4267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D3E992D2-2691-47D9-BE28-082E221C7D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910917" y="1316567"/>
            <a:ext cx="8229600" cy="6498167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7A925B4E-115F-42F2-9BD6-A329AD40D9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9718" y="2743200"/>
            <a:ext cx="5242983" cy="5082117"/>
          </a:xfrm>
        </p:spPr>
        <p:txBody>
          <a:bodyPr/>
          <a:lstStyle>
            <a:lvl1pPr marL="0" indent="0">
              <a:buNone/>
              <a:defRPr sz="2133"/>
            </a:lvl1pPr>
            <a:lvl2pPr marL="609585" indent="0">
              <a:buNone/>
              <a:defRPr sz="1867"/>
            </a:lvl2pPr>
            <a:lvl3pPr marL="1219170" indent="0">
              <a:buNone/>
              <a:defRPr sz="1600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  <a:lvl6pPr marL="3047924" indent="0">
              <a:buNone/>
              <a:defRPr sz="1333"/>
            </a:lvl6pPr>
            <a:lvl7pPr marL="3657509" indent="0">
              <a:buNone/>
              <a:defRPr sz="1333"/>
            </a:lvl7pPr>
            <a:lvl8pPr marL="4267093" indent="0">
              <a:buNone/>
              <a:defRPr sz="1333"/>
            </a:lvl8pPr>
            <a:lvl9pPr marL="4876678" indent="0">
              <a:buNone/>
              <a:defRPr sz="1333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207B97F1-6BDF-4EC9-9C53-583B96944F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B2275B2-CF55-4777-99BA-AAF66C121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D904BBA6-FEEE-447C-9581-CEB85F38F3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08116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57E7668-B8E7-4FE5-9791-7F74292226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0806B5D0-9DEE-4BDD-99AA-CB53841FB9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2460CC2-215A-4F5C-A44E-CCC0F9025D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74109D7-9589-46E7-9532-3DD0BCE04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758657A-D4D0-4C0A-BD33-D6F222C74A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417603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BD6ED12F-7618-4B3E-A10E-F0C17C61D6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633200" y="486834"/>
            <a:ext cx="3505200" cy="7749117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1E5F1BCD-A5A8-44B4-84D0-844271AEF0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17600" y="486834"/>
            <a:ext cx="10312400" cy="7749117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7227E32-1FFE-4394-8A54-36EF4CA5F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DF0DBA5-7995-4E6B-A7E8-283EFFF80E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BDB523-7191-4B2E-8BF4-4F7F8E63B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437310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27">
            <a:extLst>
              <a:ext uri="{FF2B5EF4-FFF2-40B4-BE49-F238E27FC236}">
                <a16:creationId xmlns:a16="http://schemas.microsoft.com/office/drawing/2014/main" id="{B37B6C02-896A-47D5-8164-17B16B8E7C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380604"/>
            <a:ext cx="2286000" cy="838597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6C994291-4A71-45D4-A9DD-4C6FD3370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0518" y="471575"/>
            <a:ext cx="14254967" cy="677108"/>
          </a:xfrm>
        </p:spPr>
        <p:txBody>
          <a:bodyPr/>
          <a:lstStyle>
            <a:lvl1pPr algn="ctr">
              <a:defRPr lang="fr-FR" sz="4400" b="1" i="0" kern="1200" dirty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07825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98431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12800" y="2103120"/>
            <a:ext cx="707136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371840" y="2103120"/>
            <a:ext cx="707136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3">
            <a:extLst>
              <a:ext uri="{FF2B5EF4-FFF2-40B4-BE49-F238E27FC236}">
                <a16:creationId xmlns:a16="http://schemas.microsoft.com/office/drawing/2014/main" id="{0724D82D-6F80-473F-B921-64D4711D2354}"/>
              </a:ext>
            </a:extLst>
          </p:cNvPr>
          <p:cNvSpPr/>
          <p:nvPr userDrawn="1"/>
        </p:nvSpPr>
        <p:spPr>
          <a:xfrm>
            <a:off x="13452563" y="0"/>
            <a:ext cx="2803525" cy="2910205"/>
          </a:xfrm>
          <a:custGeom>
            <a:avLst/>
            <a:gdLst/>
            <a:ahLst/>
            <a:cxnLst/>
            <a:rect l="l" t="t" r="r" b="b"/>
            <a:pathLst>
              <a:path w="2803525" h="2910205">
                <a:moveTo>
                  <a:pt x="2803437" y="0"/>
                </a:moveTo>
                <a:lnTo>
                  <a:pt x="0" y="0"/>
                </a:lnTo>
                <a:lnTo>
                  <a:pt x="0" y="761610"/>
                </a:lnTo>
                <a:lnTo>
                  <a:pt x="1969173" y="889473"/>
                </a:lnTo>
                <a:lnTo>
                  <a:pt x="1969173" y="2909866"/>
                </a:lnTo>
                <a:lnTo>
                  <a:pt x="2803437" y="2909866"/>
                </a:lnTo>
                <a:lnTo>
                  <a:pt x="2803437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24">
            <a:extLst>
              <a:ext uri="{FF2B5EF4-FFF2-40B4-BE49-F238E27FC236}">
                <a16:creationId xmlns:a16="http://schemas.microsoft.com/office/drawing/2014/main" id="{0CC61041-804D-4CF4-B5CC-9800217099E3}"/>
              </a:ext>
            </a:extLst>
          </p:cNvPr>
          <p:cNvSpPr/>
          <p:nvPr userDrawn="1"/>
        </p:nvSpPr>
        <p:spPr>
          <a:xfrm>
            <a:off x="0" y="6325402"/>
            <a:ext cx="2849880" cy="2818765"/>
          </a:xfrm>
          <a:custGeom>
            <a:avLst/>
            <a:gdLst/>
            <a:ahLst/>
            <a:cxnLst/>
            <a:rect l="l" t="t" r="r" b="b"/>
            <a:pathLst>
              <a:path w="2849880" h="2818765">
                <a:moveTo>
                  <a:pt x="880637" y="0"/>
                </a:moveTo>
                <a:lnTo>
                  <a:pt x="0" y="0"/>
                </a:lnTo>
                <a:lnTo>
                  <a:pt x="0" y="2818584"/>
                </a:lnTo>
                <a:lnTo>
                  <a:pt x="2849810" y="2818584"/>
                </a:lnTo>
                <a:lnTo>
                  <a:pt x="2849810" y="2148255"/>
                </a:lnTo>
                <a:lnTo>
                  <a:pt x="880637" y="2020392"/>
                </a:lnTo>
                <a:lnTo>
                  <a:pt x="88063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C994291-4A71-45D4-A9DD-4C6FD3370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0517" y="471574"/>
            <a:ext cx="14254967" cy="677108"/>
          </a:xfrm>
        </p:spPr>
        <p:txBody>
          <a:bodyPr/>
          <a:lstStyle>
            <a:lvl1pPr algn="ctr">
              <a:defRPr lang="fr-FR" sz="4400" b="1" i="0" kern="1200" dirty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CA3E32D2-CAE0-40A9-88C3-EF777FF351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1467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219200" y="2834641"/>
            <a:ext cx="13817600" cy="28777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438400" y="5120641"/>
            <a:ext cx="113792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47034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9281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</p:spPr>
        <p:txBody>
          <a:bodyPr lIns="0" tIns="0" rIns="0" bIns="0"/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12800" y="2103121"/>
            <a:ext cx="70713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8371840" y="2103121"/>
            <a:ext cx="70713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25683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6" y="3581623"/>
            <a:ext cx="14254967" cy="2875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12800" y="2103120"/>
            <a:ext cx="14630400" cy="603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527040" y="8503920"/>
            <a:ext cx="520192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12800" y="8503920"/>
            <a:ext cx="373888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704320" y="8503920"/>
            <a:ext cx="3738880" cy="45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00518" y="3581625"/>
            <a:ext cx="14254967" cy="28777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12800" y="2103121"/>
            <a:ext cx="14630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5527040" y="8503921"/>
            <a:ext cx="52019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12800" y="8503921"/>
            <a:ext cx="37388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2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704320" y="8503921"/>
            <a:ext cx="37388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91825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189">
        <a:defRPr>
          <a:latin typeface="+mn-lt"/>
          <a:ea typeface="+mn-ea"/>
          <a:cs typeface="+mn-cs"/>
        </a:defRPr>
      </a:lvl2pPr>
      <a:lvl3pPr marL="914377">
        <a:defRPr>
          <a:latin typeface="+mn-lt"/>
          <a:ea typeface="+mn-ea"/>
          <a:cs typeface="+mn-cs"/>
        </a:defRPr>
      </a:lvl3pPr>
      <a:lvl4pPr marL="1371566">
        <a:defRPr>
          <a:latin typeface="+mn-lt"/>
          <a:ea typeface="+mn-ea"/>
          <a:cs typeface="+mn-cs"/>
        </a:defRPr>
      </a:lvl4pPr>
      <a:lvl5pPr marL="1828754">
        <a:defRPr>
          <a:latin typeface="+mn-lt"/>
          <a:ea typeface="+mn-ea"/>
          <a:cs typeface="+mn-cs"/>
        </a:defRPr>
      </a:lvl5pPr>
      <a:lvl6pPr marL="2285943">
        <a:defRPr>
          <a:latin typeface="+mn-lt"/>
          <a:ea typeface="+mn-ea"/>
          <a:cs typeface="+mn-cs"/>
        </a:defRPr>
      </a:lvl6pPr>
      <a:lvl7pPr marL="2743131">
        <a:defRPr>
          <a:latin typeface="+mn-lt"/>
          <a:ea typeface="+mn-ea"/>
          <a:cs typeface="+mn-cs"/>
        </a:defRPr>
      </a:lvl7pPr>
      <a:lvl8pPr marL="3200320">
        <a:defRPr>
          <a:latin typeface="+mn-lt"/>
          <a:ea typeface="+mn-ea"/>
          <a:cs typeface="+mn-cs"/>
        </a:defRPr>
      </a:lvl8pPr>
      <a:lvl9pPr marL="365750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89">
        <a:defRPr>
          <a:latin typeface="+mn-lt"/>
          <a:ea typeface="+mn-ea"/>
          <a:cs typeface="+mn-cs"/>
        </a:defRPr>
      </a:lvl2pPr>
      <a:lvl3pPr marL="914377">
        <a:defRPr>
          <a:latin typeface="+mn-lt"/>
          <a:ea typeface="+mn-ea"/>
          <a:cs typeface="+mn-cs"/>
        </a:defRPr>
      </a:lvl3pPr>
      <a:lvl4pPr marL="1371566">
        <a:defRPr>
          <a:latin typeface="+mn-lt"/>
          <a:ea typeface="+mn-ea"/>
          <a:cs typeface="+mn-cs"/>
        </a:defRPr>
      </a:lvl4pPr>
      <a:lvl5pPr marL="1828754">
        <a:defRPr>
          <a:latin typeface="+mn-lt"/>
          <a:ea typeface="+mn-ea"/>
          <a:cs typeface="+mn-cs"/>
        </a:defRPr>
      </a:lvl5pPr>
      <a:lvl6pPr marL="2285943">
        <a:defRPr>
          <a:latin typeface="+mn-lt"/>
          <a:ea typeface="+mn-ea"/>
          <a:cs typeface="+mn-cs"/>
        </a:defRPr>
      </a:lvl6pPr>
      <a:lvl7pPr marL="2743131">
        <a:defRPr>
          <a:latin typeface="+mn-lt"/>
          <a:ea typeface="+mn-ea"/>
          <a:cs typeface="+mn-cs"/>
        </a:defRPr>
      </a:lvl7pPr>
      <a:lvl8pPr marL="3200320">
        <a:defRPr>
          <a:latin typeface="+mn-lt"/>
          <a:ea typeface="+mn-ea"/>
          <a:cs typeface="+mn-cs"/>
        </a:defRPr>
      </a:lvl8pPr>
      <a:lvl9pPr marL="3657509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C31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30584098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39751" y="335970"/>
            <a:ext cx="14597029" cy="9556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Click to insert </a:t>
            </a:r>
            <a:r>
              <a:rPr lang="fr-FR" err="1"/>
              <a:t>title</a:t>
            </a:r>
            <a:endParaRPr lang="en-US"/>
          </a:p>
        </p:txBody>
      </p:sp>
      <p:pic>
        <p:nvPicPr>
          <p:cNvPr id="4" name="3341_CapGeminiW_img.png" descr="3341_CapGeminiW_img.png">
            <a:extLst>
              <a:ext uri="{FF2B5EF4-FFF2-40B4-BE49-F238E27FC236}">
                <a16:creationId xmlns:a16="http://schemas.microsoft.com/office/drawing/2014/main" id="{3F48308E-4D4D-4387-A90F-51DDB39711A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477992" y="335970"/>
            <a:ext cx="476515" cy="591364"/>
          </a:xfrm>
          <a:prstGeom prst="rect">
            <a:avLst/>
          </a:prstGeom>
          <a:ln w="3175">
            <a:miter lim="400000"/>
          </a:ln>
        </p:spPr>
      </p:pic>
      <p:sp>
        <p:nvSpPr>
          <p:cNvPr id="5" name="Numéro de diapositive">
            <a:extLst>
              <a:ext uri="{FF2B5EF4-FFF2-40B4-BE49-F238E27FC236}">
                <a16:creationId xmlns:a16="http://schemas.microsoft.com/office/drawing/2014/main" id="{C646A6C5-3979-4A34-A021-42C313288DE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15226231" y="8623295"/>
            <a:ext cx="728276" cy="359808"/>
          </a:xfrm>
          <a:prstGeom prst="rect">
            <a:avLst/>
          </a:prstGeom>
        </p:spPr>
        <p:txBody>
          <a:bodyPr/>
          <a:lstStyle>
            <a:lvl1pPr algn="r">
              <a:defRPr sz="1467">
                <a:solidFill>
                  <a:srgbClr val="EBEBEB"/>
                </a:solidFill>
                <a:latin typeface="Ubuntu Regular"/>
                <a:ea typeface="Ubuntu Regular"/>
                <a:cs typeface="Ubuntu Regular"/>
                <a:sym typeface="Ubuntu Regular"/>
              </a:defRPr>
            </a:lvl1pPr>
          </a:lstStyle>
          <a:p>
            <a:fld id="{86CB4B4D-7CA3-9044-876B-883B54F8677D}" type="slidenum">
              <a:t>‹N°›</a:t>
            </a:fld>
            <a:endParaRPr/>
          </a:p>
        </p:txBody>
      </p:sp>
      <p:sp>
        <p:nvSpPr>
          <p:cNvPr id="6" name="Rectangle 27">
            <a:extLst>
              <a:ext uri="{FF2B5EF4-FFF2-40B4-BE49-F238E27FC236}">
                <a16:creationId xmlns:a16="http://schemas.microsoft.com/office/drawing/2014/main" id="{F664528B-E9EC-4971-BA9C-3D1C5E276B72}"/>
              </a:ext>
            </a:extLst>
          </p:cNvPr>
          <p:cNvSpPr/>
          <p:nvPr userDrawn="1"/>
        </p:nvSpPr>
        <p:spPr>
          <a:xfrm>
            <a:off x="9636093" y="8623295"/>
            <a:ext cx="4967803" cy="359808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33">
                <a:solidFill>
                  <a:srgbClr val="A6A6A6"/>
                </a:solidFill>
                <a:latin typeface="Ubuntu" panose="020B0504030602030204" pitchFamily="34" charset="0"/>
                <a:cs typeface="Arial" panose="020B0604020202020204" pitchFamily="34" charset="0"/>
              </a:rPr>
              <a:t>Company Confidential © Capgemini 2022. All rights reserved  |</a:t>
            </a:r>
          </a:p>
        </p:txBody>
      </p:sp>
    </p:spTree>
    <p:extLst>
      <p:ext uri="{BB962C8B-B14F-4D97-AF65-F5344CB8AC3E}">
        <p14:creationId xmlns:p14="http://schemas.microsoft.com/office/powerpoint/2010/main" val="3926984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</p:sldLayoutIdLst>
  <p:hf hdr="0"/>
  <p:txStyles>
    <p:titleStyle>
      <a:lvl1pPr marL="0" marR="0" indent="0" algn="l" defTabSz="1219170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kumimoji="0" lang="en-US" sz="3200" b="0" i="0" u="none" strike="noStrike" kern="1200" cap="none" spc="0" normalizeH="0" baseline="0" noProof="0" dirty="0">
          <a:ln>
            <a:noFill/>
          </a:ln>
          <a:solidFill>
            <a:schemeClr val="bg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26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1pPr>
      <a:lvl2pPr marL="237061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2pPr>
      <a:lvl3pPr marL="482588" indent="-245527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2"/>
        </a:buClr>
        <a:buFont typeface="Arial" panose="020B0604020202020204" pitchFamily="34" charset="0"/>
        <a:buChar char="•"/>
        <a:defRPr sz="2133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3pPr>
      <a:lvl4pPr marL="719649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Ubuntu" panose="020B0504030602030204" pitchFamily="34" charset="0"/>
        <a:buChar char="–"/>
        <a:defRPr sz="18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4pPr>
      <a:lvl5pPr marL="956709" indent="-237061" algn="l" defTabSz="121917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accent3"/>
        </a:buClr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Ubuntu" panose="020B0504030602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09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4071">
          <p15:clr>
            <a:srgbClr val="F26B43"/>
          </p15:clr>
        </p15:guide>
        <p15:guide id="4" pos="255">
          <p15:clr>
            <a:srgbClr val="F26B43"/>
          </p15:clr>
        </p15:guide>
        <p15:guide id="5" orient="horz" pos="836">
          <p15:clr>
            <a:srgbClr val="F26B43"/>
          </p15:clr>
        </p15:guide>
        <p15:guide id="6" orient="horz" pos="245">
          <p15:clr>
            <a:srgbClr val="F26B43"/>
          </p15:clr>
        </p15:guide>
        <p15:guide id="7" pos="3840">
          <p15:clr>
            <a:srgbClr val="F26B43"/>
          </p15:clr>
        </p15:guide>
        <p15:guide id="8" pos="3899">
          <p15:clr>
            <a:srgbClr val="F26B43"/>
          </p15:clr>
        </p15:guide>
        <p15:guide id="9" pos="378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5387D9D1-7C40-4F4E-9086-F0C40471DB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600" y="486834"/>
            <a:ext cx="14020800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7345C7B-B064-4FDB-BDBE-CD348F22F3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7600" y="2434167"/>
            <a:ext cx="14020800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2E02082-36C8-4950-8F86-444322C113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17600" y="8475134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551B62-77DB-4F0F-BCA8-07FEAD5BE8D6}" type="datetimeFigureOut">
              <a:rPr lang="fr-FR" smtClean="0"/>
              <a:t>21/03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BB0AA9A-15D8-461B-B44A-EA0EB9AA08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84800" y="8475134"/>
            <a:ext cx="54864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/>
              <a:t>MTE – FdR Numérique et Ecologie 2022/23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785CA37-BC37-4706-970B-86E05E0A44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0800" y="8475134"/>
            <a:ext cx="3657600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0A8B77-42A3-4028-9E21-9E2F0D3EACE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6243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</p:sldLayoutIdLst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hyperlink" Target="https://lesbases.anct.gouv.fr/collections/boite-a-outils-numerique-responsable" TargetMode="Externa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image" Target="../media/image7.png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8"/>
          <p:cNvSpPr>
            <a:spLocks noChangeAspect="1"/>
          </p:cNvSpPr>
          <p:nvPr/>
        </p:nvSpPr>
        <p:spPr>
          <a:xfrm rot="5400000">
            <a:off x="519927" y="2419838"/>
            <a:ext cx="2908867" cy="2780322"/>
          </a:xfrm>
          <a:custGeom>
            <a:avLst/>
            <a:gdLst/>
            <a:ahLst/>
            <a:cxnLst/>
            <a:rect l="l" t="t" r="r" b="b"/>
            <a:pathLst>
              <a:path w="1278889" h="1222375">
                <a:moveTo>
                  <a:pt x="726313" y="0"/>
                </a:moveTo>
                <a:lnTo>
                  <a:pt x="0" y="0"/>
                </a:lnTo>
                <a:lnTo>
                  <a:pt x="48869" y="753516"/>
                </a:lnTo>
                <a:lnTo>
                  <a:pt x="54396" y="802093"/>
                </a:lnTo>
                <a:lnTo>
                  <a:pt x="64440" y="849117"/>
                </a:lnTo>
                <a:lnTo>
                  <a:pt x="78769" y="894371"/>
                </a:lnTo>
                <a:lnTo>
                  <a:pt x="97149" y="937637"/>
                </a:lnTo>
                <a:lnTo>
                  <a:pt x="119347" y="978696"/>
                </a:lnTo>
                <a:lnTo>
                  <a:pt x="145131" y="1017329"/>
                </a:lnTo>
                <a:lnTo>
                  <a:pt x="174268" y="1053320"/>
                </a:lnTo>
                <a:lnTo>
                  <a:pt x="206525" y="1086448"/>
                </a:lnTo>
                <a:lnTo>
                  <a:pt x="241669" y="1116496"/>
                </a:lnTo>
                <a:lnTo>
                  <a:pt x="279468" y="1143247"/>
                </a:lnTo>
                <a:lnTo>
                  <a:pt x="319687" y="1166480"/>
                </a:lnTo>
                <a:lnTo>
                  <a:pt x="362096" y="1185979"/>
                </a:lnTo>
                <a:lnTo>
                  <a:pt x="406460" y="1201525"/>
                </a:lnTo>
                <a:lnTo>
                  <a:pt x="452546" y="1212899"/>
                </a:lnTo>
                <a:lnTo>
                  <a:pt x="500123" y="1219883"/>
                </a:lnTo>
                <a:lnTo>
                  <a:pt x="548957" y="1222260"/>
                </a:lnTo>
                <a:lnTo>
                  <a:pt x="1278775" y="1222260"/>
                </a:lnTo>
                <a:lnTo>
                  <a:pt x="1278775" y="497446"/>
                </a:lnTo>
                <a:lnTo>
                  <a:pt x="758558" y="497446"/>
                </a:lnTo>
                <a:lnTo>
                  <a:pt x="726313" y="0"/>
                </a:lnTo>
                <a:close/>
              </a:path>
            </a:pathLst>
          </a:custGeom>
          <a:solidFill>
            <a:srgbClr val="2C317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ZoneTexte 11"/>
          <p:cNvSpPr txBox="1"/>
          <p:nvPr/>
        </p:nvSpPr>
        <p:spPr>
          <a:xfrm>
            <a:off x="4040554" y="4325814"/>
            <a:ext cx="980244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4800" b="1" dirty="0">
                <a:solidFill>
                  <a:srgbClr val="00B59E"/>
                </a:solidFill>
                <a:latin typeface="Marianne ExtraBold" charset="0"/>
                <a:ea typeface="Marianne ExtraBold" charset="0"/>
                <a:cs typeface="Marianne ExtraBold" charset="0"/>
              </a:rPr>
              <a:t>MODELE</a:t>
            </a:r>
            <a:r>
              <a:rPr lang="fr-FR" sz="4800" b="1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 - Support de réunion</a:t>
            </a:r>
          </a:p>
          <a:p>
            <a:r>
              <a:rPr lang="fr-FR" sz="4000" b="1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Formalisation de la feuille de route</a:t>
            </a:r>
          </a:p>
        </p:txBody>
      </p:sp>
      <p:sp>
        <p:nvSpPr>
          <p:cNvPr id="14" name="object 4"/>
          <p:cNvSpPr/>
          <p:nvPr/>
        </p:nvSpPr>
        <p:spPr>
          <a:xfrm>
            <a:off x="13672138" y="414281"/>
            <a:ext cx="2201545" cy="2104390"/>
          </a:xfrm>
          <a:custGeom>
            <a:avLst/>
            <a:gdLst/>
            <a:ahLst/>
            <a:cxnLst/>
            <a:rect l="l" t="t" r="r" b="b"/>
            <a:pathLst>
              <a:path w="2201544" h="2104390">
                <a:moveTo>
                  <a:pt x="1256360" y="0"/>
                </a:moveTo>
                <a:lnTo>
                  <a:pt x="0" y="0"/>
                </a:lnTo>
                <a:lnTo>
                  <a:pt x="0" y="1247749"/>
                </a:lnTo>
                <a:lnTo>
                  <a:pt x="895578" y="1247749"/>
                </a:lnTo>
                <a:lnTo>
                  <a:pt x="951001" y="2104212"/>
                </a:lnTo>
                <a:lnTo>
                  <a:pt x="2201405" y="2104212"/>
                </a:lnTo>
                <a:lnTo>
                  <a:pt x="2117382" y="806983"/>
                </a:lnTo>
                <a:lnTo>
                  <a:pt x="2112914" y="758885"/>
                </a:lnTo>
                <a:lnTo>
                  <a:pt x="2105851" y="711607"/>
                </a:lnTo>
                <a:lnTo>
                  <a:pt x="2096269" y="665221"/>
                </a:lnTo>
                <a:lnTo>
                  <a:pt x="2084242" y="619795"/>
                </a:lnTo>
                <a:lnTo>
                  <a:pt x="2069845" y="575400"/>
                </a:lnTo>
                <a:lnTo>
                  <a:pt x="2053152" y="532105"/>
                </a:lnTo>
                <a:lnTo>
                  <a:pt x="2034239" y="489982"/>
                </a:lnTo>
                <a:lnTo>
                  <a:pt x="2013180" y="449100"/>
                </a:lnTo>
                <a:lnTo>
                  <a:pt x="1990049" y="409529"/>
                </a:lnTo>
                <a:lnTo>
                  <a:pt x="1964921" y="371339"/>
                </a:lnTo>
                <a:lnTo>
                  <a:pt x="1937872" y="334601"/>
                </a:lnTo>
                <a:lnTo>
                  <a:pt x="1908975" y="299384"/>
                </a:lnTo>
                <a:lnTo>
                  <a:pt x="1878305" y="265758"/>
                </a:lnTo>
                <a:lnTo>
                  <a:pt x="1845938" y="233794"/>
                </a:lnTo>
                <a:lnTo>
                  <a:pt x="1811948" y="203561"/>
                </a:lnTo>
                <a:lnTo>
                  <a:pt x="1776409" y="175130"/>
                </a:lnTo>
                <a:lnTo>
                  <a:pt x="1739397" y="148571"/>
                </a:lnTo>
                <a:lnTo>
                  <a:pt x="1700985" y="123954"/>
                </a:lnTo>
                <a:lnTo>
                  <a:pt x="1661249" y="101349"/>
                </a:lnTo>
                <a:lnTo>
                  <a:pt x="1620264" y="80825"/>
                </a:lnTo>
                <a:lnTo>
                  <a:pt x="1578103" y="62454"/>
                </a:lnTo>
                <a:lnTo>
                  <a:pt x="1534843" y="46305"/>
                </a:lnTo>
                <a:lnTo>
                  <a:pt x="1490557" y="32448"/>
                </a:lnTo>
                <a:lnTo>
                  <a:pt x="1445320" y="20953"/>
                </a:lnTo>
                <a:lnTo>
                  <a:pt x="1399207" y="11891"/>
                </a:lnTo>
                <a:lnTo>
                  <a:pt x="1352293" y="5331"/>
                </a:lnTo>
                <a:lnTo>
                  <a:pt x="1304652" y="1344"/>
                </a:lnTo>
                <a:lnTo>
                  <a:pt x="1256360" y="0"/>
                </a:lnTo>
                <a:close/>
              </a:path>
            </a:pathLst>
          </a:custGeom>
          <a:solidFill>
            <a:srgbClr val="5D6D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3"/>
          <p:cNvSpPr>
            <a:spLocks noChangeAspect="1"/>
          </p:cNvSpPr>
          <p:nvPr/>
        </p:nvSpPr>
        <p:spPr>
          <a:xfrm>
            <a:off x="584200" y="7848600"/>
            <a:ext cx="954722" cy="913145"/>
          </a:xfrm>
          <a:custGeom>
            <a:avLst/>
            <a:gdLst/>
            <a:ahLst/>
            <a:cxnLst/>
            <a:rect l="l" t="t" r="r" b="b"/>
            <a:pathLst>
              <a:path w="393700" h="376554">
                <a:moveTo>
                  <a:pt x="217690" y="0"/>
                </a:moveTo>
                <a:lnTo>
                  <a:pt x="6223" y="0"/>
                </a:lnTo>
                <a:lnTo>
                  <a:pt x="0" y="6654"/>
                </a:lnTo>
                <a:lnTo>
                  <a:pt x="14617" y="232092"/>
                </a:lnTo>
                <a:lnTo>
                  <a:pt x="24862" y="278192"/>
                </a:lnTo>
                <a:lnTo>
                  <a:pt x="47735" y="317882"/>
                </a:lnTo>
                <a:lnTo>
                  <a:pt x="80889" y="348960"/>
                </a:lnTo>
                <a:lnTo>
                  <a:pt x="121975" y="369222"/>
                </a:lnTo>
                <a:lnTo>
                  <a:pt x="168643" y="376466"/>
                </a:lnTo>
                <a:lnTo>
                  <a:pt x="387350" y="376466"/>
                </a:lnTo>
                <a:lnTo>
                  <a:pt x="393433" y="370382"/>
                </a:lnTo>
                <a:lnTo>
                  <a:pt x="393433" y="159308"/>
                </a:lnTo>
                <a:lnTo>
                  <a:pt x="387350" y="153225"/>
                </a:lnTo>
                <a:lnTo>
                  <a:pt x="238785" y="153225"/>
                </a:lnTo>
                <a:lnTo>
                  <a:pt x="232854" y="147650"/>
                </a:lnTo>
                <a:lnTo>
                  <a:pt x="232384" y="140487"/>
                </a:lnTo>
                <a:lnTo>
                  <a:pt x="223647" y="5575"/>
                </a:lnTo>
                <a:lnTo>
                  <a:pt x="21769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3942289" y="7081804"/>
            <a:ext cx="1863967" cy="244673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3ACADFD9-4121-4AE7-95D6-5D163301F9AF}"/>
              </a:ext>
            </a:extLst>
          </p:cNvPr>
          <p:cNvSpPr txBox="1"/>
          <p:nvPr/>
        </p:nvSpPr>
        <p:spPr>
          <a:xfrm>
            <a:off x="1731017" y="7262896"/>
            <a:ext cx="1211198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Ce support a été produit par l’ANCT lors de l’expérimentation lancée en novembre 2022 pour accompagner 6 collectivités territoriales pilotes dans l’élaboration de leur stratégie Numérique responsable. Il a ensuite été mis à jour à base des retours d’expérience des 18 collectivités territoriales ayant participé à la Vague 1, qui s’est déroulée entre septembre et décembre 2023.</a:t>
            </a:r>
          </a:p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Il est mis à disposition de tous les acteurs en libre-accès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  <a:hlinkClick r:id="rId4"/>
              </a:rPr>
              <a:t>dans la boîte à outils Numérique responsable de l’ANCT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pour servir de modèle.</a:t>
            </a:r>
          </a:p>
          <a:p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Il peut donc être repris, modifié, complété.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</a:rPr>
              <a:t>La typographie Marianne® est </a:t>
            </a:r>
            <a:r>
              <a:rPr lang="fr-FR" sz="1600" dirty="0">
                <a:solidFill>
                  <a:srgbClr val="2C3176"/>
                </a:solidFill>
                <a:latin typeface="Marianne" panose="02000000000000000000" pitchFamily="50" charset="0"/>
                <a:ea typeface="Marianne ExtraBold" charset="0"/>
                <a:cs typeface="Marianne ExtraBold" charset="0"/>
              </a:rPr>
              <a:t>réservée aux administrations publiques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0EE1C583-C6EB-4ECD-B650-8F943BB17F2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65" y="246810"/>
            <a:ext cx="5980095" cy="1911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811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5229B77-2543-4D2A-820B-FEB1651B348F}"/>
              </a:ext>
            </a:extLst>
          </p:cNvPr>
          <p:cNvGraphicFramePr>
            <a:graphicFrameLocks noGrp="1"/>
          </p:cNvGraphicFramePr>
          <p:nvPr/>
        </p:nvGraphicFramePr>
        <p:xfrm>
          <a:off x="1719288" y="2411761"/>
          <a:ext cx="12961440" cy="50405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312368">
                  <a:extLst>
                    <a:ext uri="{9D8B030D-6E8A-4147-A177-3AD203B41FA5}">
                      <a16:colId xmlns:a16="http://schemas.microsoft.com/office/drawing/2014/main" val="2697564119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210888752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1252586957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val="4252521593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565203894"/>
                    </a:ext>
                  </a:extLst>
                </a:gridCol>
                <a:gridCol w="2664296">
                  <a:extLst>
                    <a:ext uri="{9D8B030D-6E8A-4147-A177-3AD203B41FA5}">
                      <a16:colId xmlns:a16="http://schemas.microsoft.com/office/drawing/2014/main" val="463642352"/>
                    </a:ext>
                  </a:extLst>
                </a:gridCol>
              </a:tblGrid>
              <a:tr h="672780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Levier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Moyens humains</a:t>
                      </a:r>
                    </a:p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(JH) estimés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latin typeface="Marianne" panose="020B0604020202020204"/>
                        </a:rPr>
                        <a:t>Budget en euros estimé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Responsable de la mise en œuvre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b="1">
                        <a:solidFill>
                          <a:schemeClr val="bg1"/>
                        </a:solidFill>
                        <a:latin typeface="Marianne" panose="020B0604020202020204"/>
                      </a:endParaRP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Arbitrage par le COPIL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236670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Levier 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nom/prénom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FR" sz="1600" noProof="0">
                        <a:solidFill>
                          <a:schemeClr val="dk1"/>
                        </a:solidFill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4229116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Levier 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nom/prénom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957532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Levier 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nom/prénom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425544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Levier 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xx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nom/prénom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noProof="0">
                          <a:solidFill>
                            <a:schemeClr val="dk1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09971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dk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>
                        <a:latin typeface="Marianne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16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3339644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9F1C3D4-9C5A-444F-A2A1-637547C15D8C}"/>
              </a:ext>
            </a:extLst>
          </p:cNvPr>
          <p:cNvSpPr txBox="1">
            <a:spLocks/>
          </p:cNvSpPr>
          <p:nvPr/>
        </p:nvSpPr>
        <p:spPr>
          <a:xfrm>
            <a:off x="12592496" y="539552"/>
            <a:ext cx="3287505" cy="1296144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nécessaire dans le cas où l’accord du financement de certains leviers est à confirmer. Sinon, la page est à supprimer.</a:t>
            </a:r>
          </a:p>
        </p:txBody>
      </p:sp>
      <p:pic>
        <p:nvPicPr>
          <p:cNvPr id="8" name="Picture 2" descr="Pencil ">
            <a:extLst>
              <a:ext uri="{FF2B5EF4-FFF2-40B4-BE49-F238E27FC236}">
                <a16:creationId xmlns:a16="http://schemas.microsoft.com/office/drawing/2014/main" id="{7723F851-A7B9-4023-B88C-47A62CE677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0328" y="3131840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05284BD-FD58-25DF-99D0-5C37E8769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517" y="471574"/>
            <a:ext cx="14254967" cy="1046440"/>
          </a:xfrm>
        </p:spPr>
        <p:txBody>
          <a:bodyPr/>
          <a:lstStyle/>
          <a:p>
            <a:r>
              <a:rPr lang="fr-FR" sz="4000" dirty="0"/>
              <a:t>Vision budgétaire consolidée</a:t>
            </a:r>
            <a:br>
              <a:rPr lang="fr-FR" sz="4000" dirty="0"/>
            </a:br>
            <a:r>
              <a:rPr lang="fr-FR" sz="2800" dirty="0"/>
              <a:t>Leviers restants à financer</a:t>
            </a:r>
            <a:endParaRPr lang="fr-FR" sz="4000" dirty="0"/>
          </a:p>
        </p:txBody>
      </p:sp>
    </p:spTree>
    <p:extLst>
      <p:ext uri="{BB962C8B-B14F-4D97-AF65-F5344CB8AC3E}">
        <p14:creationId xmlns:p14="http://schemas.microsoft.com/office/powerpoint/2010/main" val="28061452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C61595C-E020-4633-8A7F-ADEB4F8E4F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50" r="30242"/>
          <a:stretch/>
        </p:blipFill>
        <p:spPr bwMode="auto">
          <a:xfrm>
            <a:off x="9239689" y="720497"/>
            <a:ext cx="5845663" cy="7569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object 11"/>
          <p:cNvGrpSpPr/>
          <p:nvPr/>
        </p:nvGrpSpPr>
        <p:grpSpPr>
          <a:xfrm>
            <a:off x="2535820" y="2403126"/>
            <a:ext cx="6319297" cy="4069715"/>
            <a:chOff x="2535820" y="2403126"/>
            <a:chExt cx="6319297" cy="4069715"/>
          </a:xfrm>
        </p:grpSpPr>
        <p:sp>
          <p:nvSpPr>
            <p:cNvPr id="12" name="object 12"/>
            <p:cNvSpPr/>
            <p:nvPr/>
          </p:nvSpPr>
          <p:spPr>
            <a:xfrm>
              <a:off x="4140942" y="2403126"/>
              <a:ext cx="2703830" cy="4069715"/>
            </a:xfrm>
            <a:custGeom>
              <a:avLst/>
              <a:gdLst/>
              <a:ahLst/>
              <a:cxnLst/>
              <a:rect l="l" t="t" r="r" b="b"/>
              <a:pathLst>
                <a:path w="2703829" h="4069715">
                  <a:moveTo>
                    <a:pt x="1179334" y="0"/>
                  </a:moveTo>
                  <a:lnTo>
                    <a:pt x="0" y="1179372"/>
                  </a:lnTo>
                  <a:lnTo>
                    <a:pt x="846429" y="2025776"/>
                  </a:lnTo>
                  <a:lnTo>
                    <a:pt x="89509" y="2887649"/>
                  </a:lnTo>
                  <a:lnTo>
                    <a:pt x="1271308" y="4069448"/>
                  </a:lnTo>
                  <a:lnTo>
                    <a:pt x="2417838" y="2763862"/>
                  </a:lnTo>
                  <a:lnTo>
                    <a:pt x="2449341" y="2726436"/>
                  </a:lnTo>
                  <a:lnTo>
                    <a:pt x="2478995" y="2688029"/>
                  </a:lnTo>
                  <a:lnTo>
                    <a:pt x="2506802" y="2648701"/>
                  </a:lnTo>
                  <a:lnTo>
                    <a:pt x="2532764" y="2608512"/>
                  </a:lnTo>
                  <a:lnTo>
                    <a:pt x="2556882" y="2567521"/>
                  </a:lnTo>
                  <a:lnTo>
                    <a:pt x="2579159" y="2525788"/>
                  </a:lnTo>
                  <a:lnTo>
                    <a:pt x="2599597" y="2483370"/>
                  </a:lnTo>
                  <a:lnTo>
                    <a:pt x="2618197" y="2440329"/>
                  </a:lnTo>
                  <a:lnTo>
                    <a:pt x="2634961" y="2396724"/>
                  </a:lnTo>
                  <a:lnTo>
                    <a:pt x="2649891" y="2352613"/>
                  </a:lnTo>
                  <a:lnTo>
                    <a:pt x="2662990" y="2308056"/>
                  </a:lnTo>
                  <a:lnTo>
                    <a:pt x="2674259" y="2263112"/>
                  </a:lnTo>
                  <a:lnTo>
                    <a:pt x="2683699" y="2217841"/>
                  </a:lnTo>
                  <a:lnTo>
                    <a:pt x="2691314" y="2172303"/>
                  </a:lnTo>
                  <a:lnTo>
                    <a:pt x="2697104" y="2126555"/>
                  </a:lnTo>
                  <a:lnTo>
                    <a:pt x="2701072" y="2080659"/>
                  </a:lnTo>
                  <a:lnTo>
                    <a:pt x="2703220" y="2034673"/>
                  </a:lnTo>
                  <a:lnTo>
                    <a:pt x="2703549" y="1988656"/>
                  </a:lnTo>
                  <a:lnTo>
                    <a:pt x="2702062" y="1942668"/>
                  </a:lnTo>
                  <a:lnTo>
                    <a:pt x="2698760" y="1896769"/>
                  </a:lnTo>
                  <a:lnTo>
                    <a:pt x="2693645" y="1851016"/>
                  </a:lnTo>
                  <a:lnTo>
                    <a:pt x="2686720" y="1805471"/>
                  </a:lnTo>
                  <a:lnTo>
                    <a:pt x="2677985" y="1760193"/>
                  </a:lnTo>
                  <a:lnTo>
                    <a:pt x="2667444" y="1715239"/>
                  </a:lnTo>
                  <a:lnTo>
                    <a:pt x="2655097" y="1670671"/>
                  </a:lnTo>
                  <a:lnTo>
                    <a:pt x="2640947" y="1626548"/>
                  </a:lnTo>
                  <a:lnTo>
                    <a:pt x="2624996" y="1582927"/>
                  </a:lnTo>
                  <a:lnTo>
                    <a:pt x="2607246" y="1539870"/>
                  </a:lnTo>
                  <a:lnTo>
                    <a:pt x="2587698" y="1497436"/>
                  </a:lnTo>
                  <a:lnTo>
                    <a:pt x="2566354" y="1455683"/>
                  </a:lnTo>
                  <a:lnTo>
                    <a:pt x="2543217" y="1414671"/>
                  </a:lnTo>
                  <a:lnTo>
                    <a:pt x="2518288" y="1374460"/>
                  </a:lnTo>
                  <a:lnTo>
                    <a:pt x="2491570" y="1335108"/>
                  </a:lnTo>
                  <a:lnTo>
                    <a:pt x="2463063" y="1296676"/>
                  </a:lnTo>
                  <a:lnTo>
                    <a:pt x="2432770" y="1259222"/>
                  </a:lnTo>
                  <a:lnTo>
                    <a:pt x="2400694" y="1222806"/>
                  </a:lnTo>
                  <a:lnTo>
                    <a:pt x="2366835" y="1187488"/>
                  </a:lnTo>
                  <a:lnTo>
                    <a:pt x="1179334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2535820" y="4011942"/>
              <a:ext cx="6319297" cy="852169"/>
            </a:xfrm>
            <a:custGeom>
              <a:avLst/>
              <a:gdLst/>
              <a:ahLst/>
              <a:cxnLst/>
              <a:rect l="l" t="t" r="r" b="b"/>
              <a:pathLst>
                <a:path w="5914390" h="852170">
                  <a:moveTo>
                    <a:pt x="5913882" y="0"/>
                  </a:moveTo>
                  <a:lnTo>
                    <a:pt x="0" y="0"/>
                  </a:lnTo>
                  <a:lnTo>
                    <a:pt x="0" y="851827"/>
                  </a:lnTo>
                  <a:lnTo>
                    <a:pt x="5913882" y="851827"/>
                  </a:lnTo>
                  <a:lnTo>
                    <a:pt x="5913882" y="0"/>
                  </a:lnTo>
                  <a:close/>
                </a:path>
              </a:pathLst>
            </a:custGeom>
            <a:solidFill>
              <a:srgbClr val="FCCD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2584732" y="4211960"/>
            <a:ext cx="6266723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5080" algn="ctr"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Fiches actions détaillées</a:t>
            </a:r>
            <a:endParaRPr lang="fr-FR" sz="2400">
              <a:solidFill>
                <a:srgbClr val="2C3176"/>
              </a:solidFill>
              <a:latin typeface="Marianne" charset="0"/>
              <a:ea typeface="Marianne" charset="0"/>
              <a:cs typeface="Marianne" charset="0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0" y="6779035"/>
            <a:ext cx="1277112" cy="1676400"/>
          </a:xfrm>
          <a:prstGeom prst="rect">
            <a:avLst/>
          </a:prstGeom>
        </p:spPr>
      </p:pic>
      <p:sp>
        <p:nvSpPr>
          <p:cNvPr id="15" name="object 15"/>
          <p:cNvSpPr/>
          <p:nvPr/>
        </p:nvSpPr>
        <p:spPr>
          <a:xfrm>
            <a:off x="14710316" y="609837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69" h="729615">
                <a:moveTo>
                  <a:pt x="435330" y="0"/>
                </a:moveTo>
                <a:lnTo>
                  <a:pt x="0" y="0"/>
                </a:lnTo>
                <a:lnTo>
                  <a:pt x="0" y="432346"/>
                </a:lnTo>
                <a:lnTo>
                  <a:pt x="310299" y="432346"/>
                </a:lnTo>
                <a:lnTo>
                  <a:pt x="329539" y="729068"/>
                </a:lnTo>
                <a:lnTo>
                  <a:pt x="762787" y="729068"/>
                </a:lnTo>
                <a:lnTo>
                  <a:pt x="733640" y="279615"/>
                </a:lnTo>
                <a:lnTo>
                  <a:pt x="727061" y="233685"/>
                </a:lnTo>
                <a:lnTo>
                  <a:pt x="713799" y="190326"/>
                </a:lnTo>
                <a:lnTo>
                  <a:pt x="694421" y="150072"/>
                </a:lnTo>
                <a:lnTo>
                  <a:pt x="669498" y="113456"/>
                </a:lnTo>
                <a:lnTo>
                  <a:pt x="639597" y="81010"/>
                </a:lnTo>
                <a:lnTo>
                  <a:pt x="605287" y="53268"/>
                </a:lnTo>
                <a:lnTo>
                  <a:pt x="567137" y="30762"/>
                </a:lnTo>
                <a:lnTo>
                  <a:pt x="525715" y="14027"/>
                </a:lnTo>
                <a:lnTo>
                  <a:pt x="481590" y="3595"/>
                </a:lnTo>
                <a:lnTo>
                  <a:pt x="43533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9015671" y="7816955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70" h="729615">
                <a:moveTo>
                  <a:pt x="433247" y="0"/>
                </a:moveTo>
                <a:lnTo>
                  <a:pt x="0" y="0"/>
                </a:lnTo>
                <a:lnTo>
                  <a:pt x="29159" y="449453"/>
                </a:lnTo>
                <a:lnTo>
                  <a:pt x="35738" y="495383"/>
                </a:lnTo>
                <a:lnTo>
                  <a:pt x="49000" y="538742"/>
                </a:lnTo>
                <a:lnTo>
                  <a:pt x="68377" y="578996"/>
                </a:lnTo>
                <a:lnTo>
                  <a:pt x="93300" y="615612"/>
                </a:lnTo>
                <a:lnTo>
                  <a:pt x="123201" y="648058"/>
                </a:lnTo>
                <a:lnTo>
                  <a:pt x="157509" y="675800"/>
                </a:lnTo>
                <a:lnTo>
                  <a:pt x="195658" y="698305"/>
                </a:lnTo>
                <a:lnTo>
                  <a:pt x="237078" y="715041"/>
                </a:lnTo>
                <a:lnTo>
                  <a:pt x="281200" y="725473"/>
                </a:lnTo>
                <a:lnTo>
                  <a:pt x="327456" y="729068"/>
                </a:lnTo>
                <a:lnTo>
                  <a:pt x="762812" y="729068"/>
                </a:lnTo>
                <a:lnTo>
                  <a:pt x="762812" y="296722"/>
                </a:lnTo>
                <a:lnTo>
                  <a:pt x="452488" y="296722"/>
                </a:lnTo>
                <a:lnTo>
                  <a:pt x="43324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E37E82D1-EFE2-49F0-9765-0FD2A5819243}"/>
              </a:ext>
            </a:extLst>
          </p:cNvPr>
          <p:cNvSpPr txBox="1">
            <a:spLocks/>
          </p:cNvSpPr>
          <p:nvPr/>
        </p:nvSpPr>
        <p:spPr>
          <a:xfrm>
            <a:off x="1000795" y="2976937"/>
            <a:ext cx="2391405" cy="213840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3800" kern="0">
                <a:solidFill>
                  <a:srgbClr val="274084"/>
                </a:solidFill>
                <a:latin typeface="Marianne ExtraBold" charset="0"/>
                <a:ea typeface="Marianne ExtraBold" charset="0"/>
                <a:cs typeface="Marianne ExtraBold" charset="0"/>
              </a:rPr>
              <a:t>2.</a:t>
            </a:r>
            <a:endParaRPr kumimoji="0" lang="fr-FR" sz="13800" b="1" i="0" u="none" strike="noStrike" kern="0" cap="none" spc="0" normalizeH="0" baseline="0" noProof="0">
              <a:ln>
                <a:noFill/>
              </a:ln>
              <a:solidFill>
                <a:srgbClr val="274084"/>
              </a:solidFill>
              <a:effectLst/>
              <a:uLnTx/>
              <a:uFillTx/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7E080E35-A8A8-44CB-B5F8-1A277E5D264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992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1 :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415B6E1-428F-4DF4-9CF9-35B086F57964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5FA6C327-5D55-4A97-B595-A4FD572E02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233" r="2485"/>
          <a:stretch/>
        </p:blipFill>
        <p:spPr bwMode="auto">
          <a:xfrm>
            <a:off x="4918447" y="3720148"/>
            <a:ext cx="6620356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997519" y="2627784"/>
            <a:ext cx="646221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4400" b="1" kern="0">
                <a:solidFill>
                  <a:srgbClr val="00B0F0"/>
                </a:solidFill>
                <a:latin typeface="Marianne" panose="020B0604020202020204"/>
              </a:rPr>
              <a:t>Stratégie et Gouvernance</a:t>
            </a:r>
          </a:p>
        </p:txBody>
      </p:sp>
    </p:spTree>
    <p:extLst>
      <p:ext uri="{BB962C8B-B14F-4D97-AF65-F5344CB8AC3E}">
        <p14:creationId xmlns:p14="http://schemas.microsoft.com/office/powerpoint/2010/main" val="2044165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>
            <a:extLst>
              <a:ext uri="{FF2B5EF4-FFF2-40B4-BE49-F238E27FC236}">
                <a16:creationId xmlns:a16="http://schemas.microsoft.com/office/drawing/2014/main" id="{3333835F-81E7-4A3A-AFB6-B6C24BAA6B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63" t="-901" b="-1"/>
          <a:stretch/>
        </p:blipFill>
        <p:spPr bwMode="auto">
          <a:xfrm>
            <a:off x="589157" y="2056284"/>
            <a:ext cx="2397180" cy="1887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03E4024B-C46E-47C2-99B7-191809305E14}"/>
              </a:ext>
            </a:extLst>
          </p:cNvPr>
          <p:cNvSpPr txBox="1"/>
          <p:nvPr/>
        </p:nvSpPr>
        <p:spPr>
          <a:xfrm>
            <a:off x="327366" y="227977"/>
            <a:ext cx="96793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defTabSz="685800">
              <a:defRPr sz="2700">
                <a:solidFill>
                  <a:prstClr val="black"/>
                </a:solidFill>
                <a:latin typeface="Raleway" pitchFamily="2" charset="0"/>
              </a:defRPr>
            </a:lvl1pPr>
          </a:lstStyle>
          <a:p>
            <a:pPr defTabSz="914377">
              <a:defRPr/>
            </a:pPr>
            <a:r>
              <a:rPr lang="fr-FR" sz="3600">
                <a:latin typeface="Marianne" panose="020B0604020202020204"/>
              </a:rPr>
              <a:t>Dimension « </a:t>
            </a:r>
            <a:r>
              <a:rPr lang="fr-FR" sz="3600">
                <a:highlight>
                  <a:srgbClr val="FFFF00"/>
                </a:highlight>
                <a:latin typeface="Marianne" panose="020B0604020202020204"/>
              </a:rPr>
              <a:t>X</a:t>
            </a:r>
            <a:r>
              <a:rPr lang="fr-FR" sz="3600">
                <a:latin typeface="Marianne" panose="020B0604020202020204"/>
              </a:rPr>
              <a:t> »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0B89FC16-44D6-456A-A2B2-EE9131B42671}"/>
              </a:ext>
            </a:extLst>
          </p:cNvPr>
          <p:cNvSpPr txBox="1"/>
          <p:nvPr/>
        </p:nvSpPr>
        <p:spPr>
          <a:xfrm>
            <a:off x="589315" y="1512765"/>
            <a:ext cx="15077371" cy="4205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>
            <a:spAutoFit/>
          </a:bodyPr>
          <a:lstStyle/>
          <a:p>
            <a:pPr defTabSz="1219170">
              <a:defRPr/>
            </a:pPr>
            <a:r>
              <a:rPr lang="fr-FR" sz="2133" b="1">
                <a:solidFill>
                  <a:prstClr val="black"/>
                </a:solidFill>
                <a:latin typeface="Marianne" panose="020B0604020202020204"/>
                <a:ea typeface="Raleway" pitchFamily="2" charset="0"/>
                <a:cs typeface="Raleway" pitchFamily="2" charset="0"/>
              </a:rPr>
              <a:t>Levier : </a:t>
            </a:r>
            <a:r>
              <a:rPr lang="fr-FR" sz="2133" b="1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  <a:ea typeface="Raleway" pitchFamily="2" charset="0"/>
                <a:cs typeface="Raleway" pitchFamily="2" charset="0"/>
              </a:rPr>
              <a:t>X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CEF213D-825B-49D2-A02F-7A9E62A49AF7}"/>
              </a:ext>
            </a:extLst>
          </p:cNvPr>
          <p:cNvSpPr/>
          <p:nvPr/>
        </p:nvSpPr>
        <p:spPr bwMode="auto">
          <a:xfrm>
            <a:off x="10163576" y="222457"/>
            <a:ext cx="2554000" cy="965540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>
              <a:defRPr/>
            </a:pPr>
            <a:r>
              <a:rPr lang="fr-FR" sz="1400" b="1">
                <a:solidFill>
                  <a:srgbClr val="009EC4"/>
                </a:solidFill>
                <a:latin typeface="Marianne" panose="020B0604020202020204"/>
                <a:cs typeface="Arial"/>
              </a:rPr>
              <a:t>Priorité :</a:t>
            </a:r>
            <a:endParaRPr sz="2400">
              <a:solidFill>
                <a:prstClr val="white"/>
              </a:solidFill>
              <a:latin typeface="Marianne" panose="020B0604020202020204"/>
            </a:endParaRPr>
          </a:p>
          <a:p>
            <a:pPr defTabSz="1219170">
              <a:defRPr/>
            </a:pPr>
            <a:endParaRPr lang="fr-FR" sz="1400">
              <a:solidFill>
                <a:prstClr val="black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2F10F907-0E1C-4DF4-885C-327E15AAED20}"/>
              </a:ext>
            </a:extLst>
          </p:cNvPr>
          <p:cNvSpPr/>
          <p:nvPr/>
        </p:nvSpPr>
        <p:spPr bwMode="auto">
          <a:xfrm>
            <a:off x="10363200" y="715080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6938C297-B7A0-485F-BCF6-7CD2724FAA51}"/>
              </a:ext>
            </a:extLst>
          </p:cNvPr>
          <p:cNvSpPr/>
          <p:nvPr/>
        </p:nvSpPr>
        <p:spPr bwMode="auto">
          <a:xfrm>
            <a:off x="10755289" y="715080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A1B17666-9016-4EEB-9FD2-CFCDF6C835CD}"/>
              </a:ext>
            </a:extLst>
          </p:cNvPr>
          <p:cNvSpPr/>
          <p:nvPr/>
        </p:nvSpPr>
        <p:spPr bwMode="auto">
          <a:xfrm>
            <a:off x="11147379" y="715080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3226239-D7C4-414A-9667-E9AF9B563CF1}"/>
              </a:ext>
            </a:extLst>
          </p:cNvPr>
          <p:cNvSpPr txBox="1"/>
          <p:nvPr/>
        </p:nvSpPr>
        <p:spPr bwMode="auto">
          <a:xfrm>
            <a:off x="11410338" y="659877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  <a:cs typeface="Arial"/>
              </a:rPr>
              <a:t>Prioritaire</a:t>
            </a:r>
            <a:endParaRPr lang="en-US" sz="1400">
              <a:solidFill>
                <a:prstClr val="black"/>
              </a:solidFill>
              <a:highlight>
                <a:srgbClr val="FFFF00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F821E9A4-8ABC-4976-A53F-4AEE7296C3F1}"/>
              </a:ext>
            </a:extLst>
          </p:cNvPr>
          <p:cNvSpPr/>
          <p:nvPr/>
        </p:nvSpPr>
        <p:spPr bwMode="auto">
          <a:xfrm>
            <a:off x="12874437" y="222455"/>
            <a:ext cx="2792247" cy="965543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>
              <a:defRPr/>
            </a:pPr>
            <a:r>
              <a:rPr lang="fr-FR" sz="1400" b="1">
                <a:solidFill>
                  <a:srgbClr val="009EC4"/>
                </a:solidFill>
                <a:latin typeface="Marianne" panose="020B0604020202020204"/>
                <a:cs typeface="Arial"/>
              </a:rPr>
              <a:t>Difficulté de mise en œuvre :</a:t>
            </a:r>
            <a:endParaRPr sz="2400">
              <a:solidFill>
                <a:prstClr val="white"/>
              </a:solidFill>
              <a:latin typeface="Marianne" panose="020B0604020202020204"/>
            </a:endParaRPr>
          </a:p>
          <a:p>
            <a:pPr defTabSz="1219170">
              <a:defRPr/>
            </a:pPr>
            <a:endParaRPr lang="fr-FR" sz="1400">
              <a:solidFill>
                <a:prstClr val="black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5891839-822F-42AD-880E-5A8BFE38905E}"/>
              </a:ext>
            </a:extLst>
          </p:cNvPr>
          <p:cNvSpPr/>
          <p:nvPr/>
        </p:nvSpPr>
        <p:spPr bwMode="auto">
          <a:xfrm>
            <a:off x="13044433" y="718944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833D50B0-A900-46EF-88A7-D3DF6DCCCB6D}"/>
              </a:ext>
            </a:extLst>
          </p:cNvPr>
          <p:cNvSpPr/>
          <p:nvPr/>
        </p:nvSpPr>
        <p:spPr bwMode="auto">
          <a:xfrm>
            <a:off x="13436523" y="718944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9094825-A873-4F5C-A6D1-B3B22A451AEA}"/>
              </a:ext>
            </a:extLst>
          </p:cNvPr>
          <p:cNvSpPr/>
          <p:nvPr/>
        </p:nvSpPr>
        <p:spPr bwMode="auto">
          <a:xfrm>
            <a:off x="13828612" y="718944"/>
            <a:ext cx="240000" cy="240000"/>
          </a:xfrm>
          <a:prstGeom prst="ellipse">
            <a:avLst/>
          </a:prstGeom>
          <a:solidFill>
            <a:srgbClr val="009EC4"/>
          </a:solidFill>
          <a:ln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>
              <a:solidFill>
                <a:prstClr val="white"/>
              </a:solidFill>
              <a:latin typeface="Marianne" panose="020B0604020202020204"/>
              <a:cs typeface="Arial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E007421-A35D-4C0A-A6E2-C10F8F24D6AC}"/>
              </a:ext>
            </a:extLst>
          </p:cNvPr>
          <p:cNvSpPr txBox="1"/>
          <p:nvPr/>
        </p:nvSpPr>
        <p:spPr bwMode="auto">
          <a:xfrm>
            <a:off x="14135640" y="663741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  <a:cs typeface="Arial"/>
              </a:rPr>
              <a:t>Difficile</a:t>
            </a:r>
            <a:endParaRPr lang="en-US" sz="1400">
              <a:solidFill>
                <a:prstClr val="black"/>
              </a:solidFill>
              <a:highlight>
                <a:srgbClr val="FFFF00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5C7EFBB-1FA0-48CA-9904-C1ACF3E95AE4}"/>
              </a:ext>
            </a:extLst>
          </p:cNvPr>
          <p:cNvSpPr txBox="1"/>
          <p:nvPr/>
        </p:nvSpPr>
        <p:spPr bwMode="auto">
          <a:xfrm>
            <a:off x="17656776" y="229574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Facile 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E068031-E6C1-4958-8D0F-E7160DF28CAD}"/>
              </a:ext>
            </a:extLst>
          </p:cNvPr>
          <p:cNvSpPr txBox="1"/>
          <p:nvPr/>
        </p:nvSpPr>
        <p:spPr bwMode="auto">
          <a:xfrm>
            <a:off x="17656776" y="886446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Difficile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ADD0603-7445-431A-97F0-16171A894AC5}"/>
              </a:ext>
            </a:extLst>
          </p:cNvPr>
          <p:cNvSpPr txBox="1"/>
          <p:nvPr/>
        </p:nvSpPr>
        <p:spPr bwMode="auto">
          <a:xfrm>
            <a:off x="16305740" y="229573"/>
            <a:ext cx="15459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Aller plus loin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E628FEC-1676-4AF2-AF9A-C06799E2D3DF}"/>
              </a:ext>
            </a:extLst>
          </p:cNvPr>
          <p:cNvSpPr txBox="1"/>
          <p:nvPr/>
        </p:nvSpPr>
        <p:spPr bwMode="auto">
          <a:xfrm>
            <a:off x="17656776" y="558010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Moyenne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36D5384-40A7-4C4E-B7D9-C98096415604}"/>
              </a:ext>
            </a:extLst>
          </p:cNvPr>
          <p:cNvSpPr txBox="1"/>
          <p:nvPr/>
        </p:nvSpPr>
        <p:spPr bwMode="auto">
          <a:xfrm>
            <a:off x="16305740" y="558009"/>
            <a:ext cx="144324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Recommandé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96A7CE5-005D-4481-AC54-690F35A02AF7}"/>
              </a:ext>
            </a:extLst>
          </p:cNvPr>
          <p:cNvSpPr txBox="1"/>
          <p:nvPr/>
        </p:nvSpPr>
        <p:spPr bwMode="auto">
          <a:xfrm>
            <a:off x="16305740" y="886446"/>
            <a:ext cx="1231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FF"/>
                </a:highlight>
                <a:latin typeface="Marianne" panose="020B0604020202020204"/>
                <a:cs typeface="Arial"/>
              </a:rPr>
              <a:t>Prioritaire</a:t>
            </a:r>
            <a:endParaRPr lang="en-US" sz="1400">
              <a:solidFill>
                <a:prstClr val="black"/>
              </a:solidFill>
              <a:highlight>
                <a:srgbClr val="FFFFFF"/>
              </a:highlight>
              <a:latin typeface="Marianne" panose="020B0604020202020204"/>
              <a:cs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4B94BF5-7D85-4B81-9EBD-9656B80930A6}"/>
              </a:ext>
            </a:extLst>
          </p:cNvPr>
          <p:cNvSpPr/>
          <p:nvPr/>
        </p:nvSpPr>
        <p:spPr>
          <a:xfrm>
            <a:off x="3036253" y="2064707"/>
            <a:ext cx="8629911" cy="884357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Résultat(s) attendu(s) pour ce levier : 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B4C8157-FABA-446C-85C2-CE7BE858D022}"/>
              </a:ext>
            </a:extLst>
          </p:cNvPr>
          <p:cNvSpPr/>
          <p:nvPr/>
        </p:nvSpPr>
        <p:spPr>
          <a:xfrm>
            <a:off x="3036101" y="2949753"/>
            <a:ext cx="4884156" cy="998921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0000" rtlCol="0" anchor="t"/>
          <a:lstStyle/>
          <a:p>
            <a:pPr defTabSz="121917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Responsable </a:t>
            </a:r>
            <a:r>
              <a:rPr lang="fr-FR" sz="1600" i="1">
                <a:solidFill>
                  <a:srgbClr val="009EC4"/>
                </a:solidFill>
                <a:latin typeface="Marianne" panose="020B0604020202020204"/>
              </a:rPr>
              <a:t>(1 max.) </a:t>
            </a: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: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6C6566B3-BC50-42F8-8566-8BB2072EC11D}"/>
              </a:ext>
            </a:extLst>
          </p:cNvPr>
          <p:cNvSpPr/>
          <p:nvPr/>
        </p:nvSpPr>
        <p:spPr>
          <a:xfrm>
            <a:off x="7920413" y="2949064"/>
            <a:ext cx="7746273" cy="1003811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Contributeur(s) :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endParaRPr lang="fr-FR" sz="1400" i="1">
              <a:solidFill>
                <a:prstClr val="black"/>
              </a:solidFill>
              <a:latin typeface="Marianne" panose="020B0604020202020204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5DB6EF9-53A1-443A-A332-C6BE46D8F6F1}"/>
              </a:ext>
            </a:extLst>
          </p:cNvPr>
          <p:cNvSpPr/>
          <p:nvPr/>
        </p:nvSpPr>
        <p:spPr>
          <a:xfrm>
            <a:off x="11666318" y="2064707"/>
            <a:ext cx="4000365" cy="885948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7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Calendrier :</a:t>
            </a:r>
          </a:p>
          <a:p>
            <a:pPr marL="228594" indent="-228594" defTabSz="121917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latin typeface="Marianne" panose="020B0604020202020204"/>
              </a:rPr>
              <a:t>Début : </a:t>
            </a: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latin typeface="Marianne" panose="020B0604020202020204"/>
              </a:rPr>
              <a:t>Fin : </a:t>
            </a: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  <a:p>
            <a:pPr defTabSz="1219170">
              <a:defRPr/>
            </a:pPr>
            <a:endParaRPr lang="fr-FR" sz="1400">
              <a:solidFill>
                <a:prstClr val="black"/>
              </a:solidFill>
              <a:latin typeface="Marianne" panose="020B0604020202020204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A95CFAD-BBF8-466E-8337-9E0FCD66F201}"/>
              </a:ext>
            </a:extLst>
          </p:cNvPr>
          <p:cNvSpPr/>
          <p:nvPr/>
        </p:nvSpPr>
        <p:spPr>
          <a:xfrm>
            <a:off x="7920417" y="5960905"/>
            <a:ext cx="7746271" cy="337955"/>
          </a:xfrm>
          <a:prstGeom prst="rect">
            <a:avLst/>
          </a:prstGeom>
          <a:solidFill>
            <a:srgbClr val="009EC4"/>
          </a:solidFill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40">
              <a:defRPr/>
            </a:pPr>
            <a:r>
              <a:rPr lang="fr-FR" sz="1600" b="1">
                <a:solidFill>
                  <a:prstClr val="white"/>
                </a:solidFill>
                <a:latin typeface="Marianne" panose="020B0604020202020204"/>
              </a:rPr>
              <a:t>Actions à mettre en œuvre pour ce levier : 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CFFF71EF-DB00-4E1C-9CC6-A101694165E9}"/>
              </a:ext>
            </a:extLst>
          </p:cNvPr>
          <p:cNvSpPr/>
          <p:nvPr/>
        </p:nvSpPr>
        <p:spPr>
          <a:xfrm>
            <a:off x="578131" y="4111626"/>
            <a:ext cx="3489044" cy="817133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4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Moyens humains (ETP ou JH) : 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C78D541F-DF91-493C-B2F3-67FA8AB15279}"/>
              </a:ext>
            </a:extLst>
          </p:cNvPr>
          <p:cNvSpPr/>
          <p:nvPr/>
        </p:nvSpPr>
        <p:spPr>
          <a:xfrm>
            <a:off x="4066409" y="4111166"/>
            <a:ext cx="3624713" cy="817297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4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Moyens en euros : 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 b="1">
                <a:solidFill>
                  <a:srgbClr val="009EC4"/>
                </a:solidFill>
                <a:latin typeface="Marianne" panose="020B0604020202020204"/>
              </a:rPr>
              <a:t> </a:t>
            </a: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  <a:p>
            <a:pPr defTabSz="1219140">
              <a:defRPr/>
            </a:pPr>
            <a:endParaRPr lang="fr-FR" sz="1400">
              <a:solidFill>
                <a:prstClr val="black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graphicFrame>
        <p:nvGraphicFramePr>
          <p:cNvPr id="82" name="Tableau 18">
            <a:extLst>
              <a:ext uri="{FF2B5EF4-FFF2-40B4-BE49-F238E27FC236}">
                <a16:creationId xmlns:a16="http://schemas.microsoft.com/office/drawing/2014/main" id="{C9D45321-3240-445F-966C-565E7E79ABFE}"/>
              </a:ext>
            </a:extLst>
          </p:cNvPr>
          <p:cNvGraphicFramePr>
            <a:graphicFrameLocks noGrp="1"/>
          </p:cNvGraphicFramePr>
          <p:nvPr/>
        </p:nvGraphicFramePr>
        <p:xfrm>
          <a:off x="589315" y="6298860"/>
          <a:ext cx="7112988" cy="22355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01885">
                  <a:extLst>
                    <a:ext uri="{9D8B030D-6E8A-4147-A177-3AD203B41FA5}">
                      <a16:colId xmlns:a16="http://schemas.microsoft.com/office/drawing/2014/main" val="1487511526"/>
                    </a:ext>
                  </a:extLst>
                </a:gridCol>
                <a:gridCol w="1911103">
                  <a:extLst>
                    <a:ext uri="{9D8B030D-6E8A-4147-A177-3AD203B41FA5}">
                      <a16:colId xmlns:a16="http://schemas.microsoft.com/office/drawing/2014/main" val="3310808463"/>
                    </a:ext>
                  </a:extLst>
                </a:gridCol>
              </a:tblGrid>
              <a:tr h="557683">
                <a:tc>
                  <a:txBody>
                    <a:bodyPr/>
                    <a:lstStyle/>
                    <a:p>
                      <a:pPr algn="ctr"/>
                      <a:r>
                        <a:rPr lang="fr-FR" sz="1500" noProof="0">
                          <a:solidFill>
                            <a:srgbClr val="009EC4"/>
                          </a:solidFill>
                          <a:latin typeface="Marianne" panose="020B0604020202020204"/>
                        </a:rPr>
                        <a:t>Indicateurs de performance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500" noProof="0">
                          <a:solidFill>
                            <a:srgbClr val="009EC4"/>
                          </a:solidFill>
                          <a:latin typeface="Marianne" panose="020B0604020202020204"/>
                        </a:rPr>
                        <a:t>Valeur</a:t>
                      </a:r>
                    </a:p>
                  </a:txBody>
                  <a:tcPr marL="121920" marR="121920" marT="60960" marB="60960" anchor="ctr"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8745045"/>
                  </a:ext>
                </a:extLst>
              </a:tr>
              <a:tr h="641331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2191164"/>
                  </a:ext>
                </a:extLst>
              </a:tr>
              <a:tr h="518264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0435494"/>
                  </a:ext>
                </a:extLst>
              </a:tr>
              <a:tr h="518264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5558915"/>
                  </a:ext>
                </a:extLst>
              </a:tr>
            </a:tbl>
          </a:graphicData>
        </a:graphic>
      </p:graphicFrame>
      <p:graphicFrame>
        <p:nvGraphicFramePr>
          <p:cNvPr id="83" name="Tableau 5">
            <a:extLst>
              <a:ext uri="{FF2B5EF4-FFF2-40B4-BE49-F238E27FC236}">
                <a16:creationId xmlns:a16="http://schemas.microsoft.com/office/drawing/2014/main" id="{7BD54018-8AC8-4C12-B9A7-CE4C636A8C0B}"/>
              </a:ext>
            </a:extLst>
          </p:cNvPr>
          <p:cNvGraphicFramePr>
            <a:graphicFrameLocks noGrp="1"/>
          </p:cNvGraphicFramePr>
          <p:nvPr/>
        </p:nvGraphicFramePr>
        <p:xfrm>
          <a:off x="7920415" y="6298862"/>
          <a:ext cx="7746270" cy="2235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00455">
                  <a:extLst>
                    <a:ext uri="{9D8B030D-6E8A-4147-A177-3AD203B41FA5}">
                      <a16:colId xmlns:a16="http://schemas.microsoft.com/office/drawing/2014/main" val="1426292725"/>
                    </a:ext>
                  </a:extLst>
                </a:gridCol>
                <a:gridCol w="1425051">
                  <a:extLst>
                    <a:ext uri="{9D8B030D-6E8A-4147-A177-3AD203B41FA5}">
                      <a16:colId xmlns:a16="http://schemas.microsoft.com/office/drawing/2014/main" val="1476013416"/>
                    </a:ext>
                  </a:extLst>
                </a:gridCol>
                <a:gridCol w="1320764">
                  <a:extLst>
                    <a:ext uri="{9D8B030D-6E8A-4147-A177-3AD203B41FA5}">
                      <a16:colId xmlns:a16="http://schemas.microsoft.com/office/drawing/2014/main" val="1551106248"/>
                    </a:ext>
                  </a:extLst>
                </a:gridCol>
              </a:tblGrid>
              <a:tr h="35726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500" b="1" kern="1200" noProof="0">
                          <a:solidFill>
                            <a:srgbClr val="009EC4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Action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500" b="1" kern="1200" noProof="0">
                          <a:solidFill>
                            <a:srgbClr val="009EC4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Qui ?</a:t>
                      </a:r>
                    </a:p>
                  </a:txBody>
                  <a:tcPr marL="121920" marR="121920" marT="60960" marB="60960" anchor="ctr">
                    <a:lnT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500" b="1" kern="1200" noProof="0">
                          <a:solidFill>
                            <a:srgbClr val="009EC4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Echéance ?</a:t>
                      </a:r>
                    </a:p>
                  </a:txBody>
                  <a:tcPr marL="121920" marR="121920" marT="60960" marB="60960" anchor="ctr"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3157746"/>
                  </a:ext>
                </a:extLst>
              </a:tr>
              <a:tr h="3467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1. A définir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1051417"/>
                  </a:ext>
                </a:extLst>
              </a:tr>
              <a:tr h="3828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2. A définir</a:t>
                      </a:r>
                      <a:endParaRPr lang="fr-FR" sz="1400" kern="1200">
                        <a:solidFill>
                          <a:prstClr val="black"/>
                        </a:solidFill>
                        <a:highlight>
                          <a:srgbClr val="FFFF00"/>
                        </a:highlight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7590821"/>
                  </a:ext>
                </a:extLst>
              </a:tr>
              <a:tr h="3828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3. A définir</a:t>
                      </a:r>
                      <a:endParaRPr lang="fr-FR" sz="1400" kern="1200">
                        <a:solidFill>
                          <a:prstClr val="black"/>
                        </a:solidFill>
                        <a:highlight>
                          <a:srgbClr val="FFFF00"/>
                        </a:highlight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206784"/>
                  </a:ext>
                </a:extLst>
              </a:tr>
              <a:tr h="3828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4. A définir</a:t>
                      </a:r>
                      <a:endParaRPr lang="fr-FR" sz="1400" kern="1200">
                        <a:solidFill>
                          <a:prstClr val="black"/>
                        </a:solidFill>
                        <a:highlight>
                          <a:srgbClr val="FFFF00"/>
                        </a:highlight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1531421"/>
                  </a:ext>
                </a:extLst>
              </a:tr>
              <a:tr h="3828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5. </a:t>
                      </a: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A définir</a:t>
                      </a:r>
                    </a:p>
                  </a:txBody>
                  <a:tcPr marL="121920" marR="121920" marT="60960" marB="60960" anchor="ctr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734672"/>
                  </a:ext>
                </a:extLst>
              </a:tr>
            </a:tbl>
          </a:graphicData>
        </a:graphic>
      </p:graphicFrame>
      <p:sp>
        <p:nvSpPr>
          <p:cNvPr id="84" name="Rectangle 83">
            <a:extLst>
              <a:ext uri="{FF2B5EF4-FFF2-40B4-BE49-F238E27FC236}">
                <a16:creationId xmlns:a16="http://schemas.microsoft.com/office/drawing/2014/main" id="{3E173B7E-AA3D-4802-AF98-8BEB5D3524DF}"/>
              </a:ext>
            </a:extLst>
          </p:cNvPr>
          <p:cNvSpPr/>
          <p:nvPr/>
        </p:nvSpPr>
        <p:spPr>
          <a:xfrm>
            <a:off x="578132" y="4927601"/>
            <a:ext cx="7112989" cy="905511"/>
          </a:xfrm>
          <a:prstGeom prst="rect">
            <a:avLst/>
          </a:prstGeom>
          <a:noFill/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219140">
              <a:defRPr/>
            </a:pPr>
            <a:r>
              <a:rPr lang="fr-FR" sz="1600" b="1">
                <a:solidFill>
                  <a:srgbClr val="009EC4"/>
                </a:solidFill>
                <a:latin typeface="Marianne" panose="020B0604020202020204"/>
              </a:rPr>
              <a:t>Prérequis : </a:t>
            </a:r>
          </a:p>
          <a:p>
            <a:pPr marL="228589" indent="-228589" defTabSz="1219140">
              <a:buFont typeface="Arial" panose="020B0604020202020204" pitchFamily="34" charset="0"/>
              <a:buChar char="•"/>
              <a:defRPr/>
            </a:pPr>
            <a:r>
              <a:rPr lang="fr-FR" sz="1400">
                <a:solidFill>
                  <a:prstClr val="black"/>
                </a:solidFill>
                <a:highlight>
                  <a:srgbClr val="FFFF00"/>
                </a:highlight>
                <a:latin typeface="Marianne" panose="020B0604020202020204"/>
              </a:rPr>
              <a:t>A définir</a:t>
            </a:r>
          </a:p>
          <a:p>
            <a:pPr defTabSz="1219140">
              <a:defRPr/>
            </a:pPr>
            <a:endParaRPr lang="fr-FR" sz="1400" i="1">
              <a:solidFill>
                <a:prstClr val="black"/>
              </a:solidFill>
              <a:latin typeface="Marianne" panose="020B0604020202020204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2BB708BD-2EDE-4DAE-8A07-A9B397A7B68F}"/>
              </a:ext>
            </a:extLst>
          </p:cNvPr>
          <p:cNvSpPr/>
          <p:nvPr/>
        </p:nvSpPr>
        <p:spPr>
          <a:xfrm>
            <a:off x="578131" y="5944334"/>
            <a:ext cx="7112988" cy="354527"/>
          </a:xfrm>
          <a:prstGeom prst="rect">
            <a:avLst/>
          </a:prstGeom>
          <a:solidFill>
            <a:srgbClr val="009EC4"/>
          </a:solidFill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40">
              <a:defRPr/>
            </a:pPr>
            <a:r>
              <a:rPr lang="fr-FR" sz="1600" b="1">
                <a:solidFill>
                  <a:prstClr val="white"/>
                </a:solidFill>
                <a:latin typeface="Marianne" panose="020B0604020202020204"/>
              </a:rPr>
              <a:t>Suivi des indicateurs de performance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30809885-3079-40EE-99B7-D59D51D27863}"/>
              </a:ext>
            </a:extLst>
          </p:cNvPr>
          <p:cNvSpPr/>
          <p:nvPr/>
        </p:nvSpPr>
        <p:spPr>
          <a:xfrm>
            <a:off x="7920414" y="4114329"/>
            <a:ext cx="7746271" cy="324275"/>
          </a:xfrm>
          <a:prstGeom prst="rect">
            <a:avLst/>
          </a:prstGeom>
          <a:solidFill>
            <a:srgbClr val="009EC4"/>
          </a:solidFill>
          <a:ln w="3175">
            <a:solidFill>
              <a:srgbClr val="009E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219140">
              <a:defRPr/>
            </a:pPr>
            <a:r>
              <a:rPr lang="fr-FR" sz="1600" b="1">
                <a:solidFill>
                  <a:prstClr val="white"/>
                </a:solidFill>
                <a:latin typeface="Marianne" panose="020B0604020202020204"/>
              </a:rPr>
              <a:t>Périmètre (à cocher) :</a:t>
            </a:r>
          </a:p>
        </p:txBody>
      </p:sp>
      <p:graphicFrame>
        <p:nvGraphicFramePr>
          <p:cNvPr id="87" name="Tableau 5">
            <a:extLst>
              <a:ext uri="{FF2B5EF4-FFF2-40B4-BE49-F238E27FC236}">
                <a16:creationId xmlns:a16="http://schemas.microsoft.com/office/drawing/2014/main" id="{86A40B63-D947-4AA3-91AC-0F934CBB9653}"/>
              </a:ext>
            </a:extLst>
          </p:cNvPr>
          <p:cNvGraphicFramePr>
            <a:graphicFrameLocks noGrp="1"/>
          </p:cNvGraphicFramePr>
          <p:nvPr/>
        </p:nvGraphicFramePr>
        <p:xfrm>
          <a:off x="7920414" y="4432503"/>
          <a:ext cx="7746271" cy="14006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84587">
                  <a:extLst>
                    <a:ext uri="{9D8B030D-6E8A-4147-A177-3AD203B41FA5}">
                      <a16:colId xmlns:a16="http://schemas.microsoft.com/office/drawing/2014/main" val="1426292725"/>
                    </a:ext>
                  </a:extLst>
                </a:gridCol>
                <a:gridCol w="1061684">
                  <a:extLst>
                    <a:ext uri="{9D8B030D-6E8A-4147-A177-3AD203B41FA5}">
                      <a16:colId xmlns:a16="http://schemas.microsoft.com/office/drawing/2014/main" val="1476013416"/>
                    </a:ext>
                  </a:extLst>
                </a:gridCol>
              </a:tblGrid>
              <a:tr h="3501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 kern="1200" noProof="0">
                          <a:solidFill>
                            <a:schemeClr val="tx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La DSI 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400" b="1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9566244"/>
                  </a:ext>
                </a:extLst>
              </a:tr>
              <a:tr h="3501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>
                          <a:solidFill>
                            <a:schemeClr val="tx1"/>
                          </a:solidFill>
                          <a:latin typeface="Marianne" panose="020B0604020202020204"/>
                        </a:rPr>
                        <a:t>Les services généraux de la collectivité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400" b="1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7590821"/>
                  </a:ext>
                </a:extLst>
              </a:tr>
              <a:tr h="3501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>
                          <a:solidFill>
                            <a:schemeClr val="tx1"/>
                          </a:solidFill>
                          <a:latin typeface="Marianne" panose="020B0604020202020204"/>
                        </a:rPr>
                        <a:t>Tous les services et équipements de la collectivité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400" b="1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730918"/>
                  </a:ext>
                </a:extLst>
              </a:tr>
              <a:tr h="3501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i="0">
                          <a:solidFill>
                            <a:schemeClr val="tx1"/>
                          </a:solidFill>
                          <a:latin typeface="Marianne" panose="020B0604020202020204"/>
                        </a:rPr>
                        <a:t>Le territoire</a:t>
                      </a:r>
                    </a:p>
                  </a:txBody>
                  <a:tcPr marL="121920" marR="121920" marT="60960" marB="60960" anchor="ctr">
                    <a:lnL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400" b="1" kern="1200">
                          <a:solidFill>
                            <a:prstClr val="black"/>
                          </a:solidFill>
                          <a:highlight>
                            <a:srgbClr val="FFFF00"/>
                          </a:highlight>
                          <a:latin typeface="Marianne" panose="020B0604020202020204"/>
                          <a:ea typeface="+mn-ea"/>
                          <a:cs typeface="+mn-cs"/>
                        </a:rPr>
                        <a:t>X</a:t>
                      </a:r>
                    </a:p>
                  </a:txBody>
                  <a:tcPr marL="121920" marR="121920" marT="60960" marB="60960">
                    <a:lnL w="63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009E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3852030"/>
                  </a:ext>
                </a:extLst>
              </a:tr>
            </a:tbl>
          </a:graphicData>
        </a:graphic>
      </p:graphicFrame>
      <p:pic>
        <p:nvPicPr>
          <p:cNvPr id="52" name="Picture 2" descr="Pencil ">
            <a:extLst>
              <a:ext uri="{FF2B5EF4-FFF2-40B4-BE49-F238E27FC236}">
                <a16:creationId xmlns:a16="http://schemas.microsoft.com/office/drawing/2014/main" id="{88D8F3FB-1466-4D7E-A83B-FAAB627D89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5808" y="243691"/>
            <a:ext cx="590592" cy="590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9FECABA6-84E4-4107-9B57-56C5FA4F7EF3}"/>
              </a:ext>
            </a:extLst>
          </p:cNvPr>
          <p:cNvSpPr txBox="1">
            <a:spLocks/>
          </p:cNvSpPr>
          <p:nvPr/>
        </p:nvSpPr>
        <p:spPr>
          <a:xfrm>
            <a:off x="2817430" y="8657341"/>
            <a:ext cx="10347003" cy="423145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Insérer ici les fiches actions remplies</a:t>
            </a:r>
          </a:p>
        </p:txBody>
      </p:sp>
    </p:spTree>
    <p:extLst>
      <p:ext uri="{BB962C8B-B14F-4D97-AF65-F5344CB8AC3E}">
        <p14:creationId xmlns:p14="http://schemas.microsoft.com/office/powerpoint/2010/main" val="9546701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uál es la viabilidad de tu Data Center? Consejos de modernización para una  infraestructura de Data Center ágil">
            <a:extLst>
              <a:ext uri="{FF2B5EF4-FFF2-40B4-BE49-F238E27FC236}">
                <a16:creationId xmlns:a16="http://schemas.microsoft.com/office/drawing/2014/main" id="{38A1A3A6-831A-4B5E-B299-95C0EAEA7D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71" b="54516"/>
          <a:stretch/>
        </p:blipFill>
        <p:spPr bwMode="auto">
          <a:xfrm>
            <a:off x="4918447" y="3720148"/>
            <a:ext cx="6634510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2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997519" y="2627784"/>
            <a:ext cx="646221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4400" b="1" kern="0">
                <a:solidFill>
                  <a:srgbClr val="ED7D31"/>
                </a:solidFill>
                <a:latin typeface="Marianne" panose="020B0604020202020204"/>
              </a:rPr>
              <a:t>Mesu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9E2CB49-8DED-4CA5-812A-08DDCEF9FC86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9619090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935E9EB2-B5E9-431E-BFE2-748605F99E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446" y="3720148"/>
            <a:ext cx="6620355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3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997519" y="2627784"/>
            <a:ext cx="646221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4400" b="1" kern="0" err="1">
                <a:solidFill>
                  <a:srgbClr val="00B050"/>
                </a:solidFill>
                <a:latin typeface="Marianne" panose="020B0604020202020204"/>
              </a:rPr>
              <a:t>Achats</a:t>
            </a:r>
            <a:endParaRPr lang="en-US" sz="4400" b="1" kern="0">
              <a:solidFill>
                <a:srgbClr val="00B050"/>
              </a:solidFill>
              <a:latin typeface="Marianne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E246B2-D9C8-431A-9D97-EA5CB8D1613F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9198214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person writing on white paper">
            <a:extLst>
              <a:ext uri="{FF2B5EF4-FFF2-40B4-BE49-F238E27FC236}">
                <a16:creationId xmlns:a16="http://schemas.microsoft.com/office/drawing/2014/main" id="{1C9687C0-1948-46CA-A2E7-9F33B999B6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80" b="51462"/>
          <a:stretch/>
        </p:blipFill>
        <p:spPr bwMode="auto">
          <a:xfrm>
            <a:off x="4918447" y="3720148"/>
            <a:ext cx="6620356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4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997519" y="2627784"/>
            <a:ext cx="646221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4400" b="1" kern="0">
                <a:solidFill>
                  <a:srgbClr val="FFC412"/>
                </a:solidFill>
                <a:latin typeface="Marianne" panose="020B0604020202020204"/>
              </a:rPr>
              <a:t>Transformation de l’I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EB4151B-796A-4210-BA70-A6416BC321B3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8834021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>
            <a:extLst>
              <a:ext uri="{FF2B5EF4-FFF2-40B4-BE49-F238E27FC236}">
                <a16:creationId xmlns:a16="http://schemas.microsoft.com/office/drawing/2014/main" id="{27FB5CA0-4C69-4676-A55C-BA48B7E005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84" b="37866"/>
          <a:stretch/>
        </p:blipFill>
        <p:spPr bwMode="auto">
          <a:xfrm>
            <a:off x="4918447" y="3720148"/>
            <a:ext cx="6620356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5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863185" y="2627784"/>
            <a:ext cx="6730881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4400" b="1" kern="0">
                <a:solidFill>
                  <a:srgbClr val="984807"/>
                </a:solidFill>
                <a:latin typeface="Marianne" panose="020B0604020202020204"/>
              </a:rPr>
              <a:t>DEEE et économie circulai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C2807A-CEF8-492E-996C-2D25B51F92E3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7151670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>
            <a:extLst>
              <a:ext uri="{FF2B5EF4-FFF2-40B4-BE49-F238E27FC236}">
                <a16:creationId xmlns:a16="http://schemas.microsoft.com/office/drawing/2014/main" id="{0B0E1E77-6F58-4FDD-8D34-F4EDF25094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1" r="44876"/>
          <a:stretch/>
        </p:blipFill>
        <p:spPr bwMode="auto">
          <a:xfrm>
            <a:off x="4918447" y="3720147"/>
            <a:ext cx="6620356" cy="1703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6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4997519" y="2627784"/>
            <a:ext cx="6462212" cy="288313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4400" b="1" kern="0">
                <a:solidFill>
                  <a:srgbClr val="7030A0"/>
                </a:solidFill>
                <a:latin typeface="Marianne" panose="020B0604020202020204"/>
              </a:rPr>
              <a:t>Sensibilis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261845-D2A0-4389-8490-8BB4CB8BA902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529256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>
            <a:extLst>
              <a:ext uri="{FF2B5EF4-FFF2-40B4-BE49-F238E27FC236}">
                <a16:creationId xmlns:a16="http://schemas.microsoft.com/office/drawing/2014/main" id="{54B11DFE-8733-4350-96C9-B0BEDB9D7B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446" y="3720148"/>
            <a:ext cx="6620357" cy="1703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619872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Dimension 7 :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EED78A-00C5-4D41-9966-C92F3F76D1AA}"/>
              </a:ext>
            </a:extLst>
          </p:cNvPr>
          <p:cNvSpPr/>
          <p:nvPr/>
        </p:nvSpPr>
        <p:spPr>
          <a:xfrm>
            <a:off x="2090875" y="1825964"/>
            <a:ext cx="12275498" cy="2088232"/>
          </a:xfrm>
          <a:prstGeom prst="rect">
            <a:avLst/>
          </a:prstGeom>
          <a:solidFill>
            <a:srgbClr val="ECECEC">
              <a:lumMod val="90000"/>
              <a:alpha val="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fr-FR" sz="4400" b="1" kern="0" dirty="0">
                <a:solidFill>
                  <a:srgbClr val="31859C"/>
                </a:solidFill>
                <a:latin typeface="Marianne" panose="020B0604020202020204"/>
              </a:rPr>
              <a:t>IT pour une Collectivité Eco-responsab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E38A1B4-BCF9-43A7-90A7-7DC064F4408C}"/>
              </a:ext>
            </a:extLst>
          </p:cNvPr>
          <p:cNvSpPr txBox="1">
            <a:spLocks/>
          </p:cNvSpPr>
          <p:nvPr/>
        </p:nvSpPr>
        <p:spPr>
          <a:xfrm>
            <a:off x="3298140" y="8100392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Cette page est un intercalaire visant à trier les fiches actions par dimension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66356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/>
          <p:cNvSpPr txBox="1"/>
          <p:nvPr/>
        </p:nvSpPr>
        <p:spPr>
          <a:xfrm>
            <a:off x="-2101516" y="-14437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08C2AE7C-AE63-4F71-A978-D1452896F3ED}"/>
              </a:ext>
            </a:extLst>
          </p:cNvPr>
          <p:cNvSpPr txBox="1">
            <a:spLocks/>
          </p:cNvSpPr>
          <p:nvPr/>
        </p:nvSpPr>
        <p:spPr>
          <a:xfrm>
            <a:off x="1655588" y="739868"/>
            <a:ext cx="12873212" cy="6918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Mode d’emploi du présent docu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EC96A0C-F55E-4B88-A723-B9E1E3B11F66}"/>
              </a:ext>
            </a:extLst>
          </p:cNvPr>
          <p:cNvSpPr txBox="1">
            <a:spLocks/>
          </p:cNvSpPr>
          <p:nvPr/>
        </p:nvSpPr>
        <p:spPr>
          <a:xfrm>
            <a:off x="3906580" y="3168809"/>
            <a:ext cx="8676766" cy="866036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2000" b="1" i="1">
                <a:latin typeface="Marianne" panose="020B0604020202020204"/>
              </a:rPr>
              <a:t>Recommandation / Explication</a:t>
            </a:r>
          </a:p>
          <a:p>
            <a:pPr algn="ctr"/>
            <a:endParaRPr lang="fr-FR" sz="2000" b="1" i="1">
              <a:latin typeface="Marianne" panose="020B0604020202020204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98835FA-D2BB-4946-9206-F218601EDE69}"/>
              </a:ext>
            </a:extLst>
          </p:cNvPr>
          <p:cNvSpPr txBox="1">
            <a:spLocks/>
          </p:cNvSpPr>
          <p:nvPr/>
        </p:nvSpPr>
        <p:spPr>
          <a:xfrm>
            <a:off x="3906580" y="1928025"/>
            <a:ext cx="8676766" cy="866037"/>
          </a:xfrm>
          <a:prstGeom prst="roundRect">
            <a:avLst/>
          </a:prstGeom>
          <a:noFill/>
          <a:ln w="12700">
            <a:noFill/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2000" b="1">
                <a:latin typeface="Marianne" panose="020B0604020202020204"/>
              </a:rPr>
              <a:t>Les encadrés comme ci-dessous donnent des éléments d’explication et ont vocation à être supprimés lors de la diffusion de ce support :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0CE6730-B3F2-46D6-B337-CB1BBB50B199}"/>
              </a:ext>
            </a:extLst>
          </p:cNvPr>
          <p:cNvSpPr txBox="1">
            <a:spLocks/>
          </p:cNvSpPr>
          <p:nvPr/>
        </p:nvSpPr>
        <p:spPr>
          <a:xfrm>
            <a:off x="3906580" y="4674445"/>
            <a:ext cx="8676766" cy="1068965"/>
          </a:xfrm>
          <a:prstGeom prst="roundRect">
            <a:avLst/>
          </a:prstGeom>
          <a:noFill/>
          <a:ln w="12700">
            <a:noFill/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2000" b="1">
                <a:latin typeface="Marianne" panose="020B0604020202020204"/>
              </a:rPr>
              <a:t>Les zones surlignées en jaune accompagnées de cette icône sont des champs à modifier par vos soins :</a:t>
            </a:r>
          </a:p>
          <a:p>
            <a:pPr algn="ctr"/>
            <a:endParaRPr lang="fr-FR" sz="2000" b="1">
              <a:latin typeface="Marianne" panose="020B060402020202020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BFBE320-3006-4870-95E8-91AD5AEC8FA3}"/>
              </a:ext>
            </a:extLst>
          </p:cNvPr>
          <p:cNvSpPr txBox="1">
            <a:spLocks/>
          </p:cNvSpPr>
          <p:nvPr/>
        </p:nvSpPr>
        <p:spPr>
          <a:xfrm>
            <a:off x="3906580" y="5936608"/>
            <a:ext cx="8676766" cy="609601"/>
          </a:xfrm>
          <a:prstGeom prst="roundRect">
            <a:avLst/>
          </a:prstGeom>
          <a:noFill/>
          <a:ln w="12700">
            <a:noFill/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2000" b="1">
                <a:highlight>
                  <a:srgbClr val="FFFF00"/>
                </a:highlight>
                <a:latin typeface="Marianne" panose="020B0604020202020204"/>
              </a:rPr>
              <a:t>Champs à modifier</a:t>
            </a:r>
          </a:p>
          <a:p>
            <a:pPr algn="ctr"/>
            <a:endParaRPr lang="fr-FR" sz="2000" b="1">
              <a:highlight>
                <a:srgbClr val="FFFF00"/>
              </a:highlight>
              <a:latin typeface="Marianne" panose="020B0604020202020204"/>
            </a:endParaRPr>
          </a:p>
        </p:txBody>
      </p:sp>
      <p:pic>
        <p:nvPicPr>
          <p:cNvPr id="1026" name="Picture 2" descr="Pencil ">
            <a:extLst>
              <a:ext uri="{FF2B5EF4-FFF2-40B4-BE49-F238E27FC236}">
                <a16:creationId xmlns:a16="http://schemas.microsoft.com/office/drawing/2014/main" id="{C0CA245F-4AA9-4C98-8DE4-5342005052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8160" y="5936608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object 14">
            <a:extLst>
              <a:ext uri="{FF2B5EF4-FFF2-40B4-BE49-F238E27FC236}">
                <a16:creationId xmlns:a16="http://schemas.microsoft.com/office/drawing/2014/main" id="{98767E6D-E4C5-4297-8AD6-E844E978527F}"/>
              </a:ext>
            </a:extLst>
          </p:cNvPr>
          <p:cNvSpPr txBox="1">
            <a:spLocks/>
          </p:cNvSpPr>
          <p:nvPr/>
        </p:nvSpPr>
        <p:spPr>
          <a:xfrm>
            <a:off x="1698166" y="7473783"/>
            <a:ext cx="12873212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2400" kern="0" spc="-75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Cette page est à supprimer une fois la préparation de la présentation terminée</a:t>
            </a:r>
          </a:p>
        </p:txBody>
      </p:sp>
      <p:pic>
        <p:nvPicPr>
          <p:cNvPr id="1028" name="Picture 4" descr="Attention ">
            <a:extLst>
              <a:ext uri="{FF2B5EF4-FFF2-40B4-BE49-F238E27FC236}">
                <a16:creationId xmlns:a16="http://schemas.microsoft.com/office/drawing/2014/main" id="{5630D6E6-EB35-4200-8D6F-90E6CEABC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4387" y="7397706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Attention ">
            <a:extLst>
              <a:ext uri="{FF2B5EF4-FFF2-40B4-BE49-F238E27FC236}">
                <a16:creationId xmlns:a16="http://schemas.microsoft.com/office/drawing/2014/main" id="{717127CC-A97B-423D-BECF-B67902C9A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46084" y="7416424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31138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C61595C-E020-4633-8A7F-ADEB4F8E4F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50" r="30242"/>
          <a:stretch/>
        </p:blipFill>
        <p:spPr bwMode="auto">
          <a:xfrm>
            <a:off x="9239689" y="720497"/>
            <a:ext cx="5845663" cy="7569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object 11"/>
          <p:cNvGrpSpPr/>
          <p:nvPr/>
        </p:nvGrpSpPr>
        <p:grpSpPr>
          <a:xfrm>
            <a:off x="2535820" y="2403126"/>
            <a:ext cx="6319297" cy="4069715"/>
            <a:chOff x="2535820" y="2403126"/>
            <a:chExt cx="6319297" cy="4069715"/>
          </a:xfrm>
        </p:grpSpPr>
        <p:sp>
          <p:nvSpPr>
            <p:cNvPr id="12" name="object 12"/>
            <p:cNvSpPr/>
            <p:nvPr/>
          </p:nvSpPr>
          <p:spPr>
            <a:xfrm>
              <a:off x="4140942" y="2403126"/>
              <a:ext cx="2703830" cy="4069715"/>
            </a:xfrm>
            <a:custGeom>
              <a:avLst/>
              <a:gdLst/>
              <a:ahLst/>
              <a:cxnLst/>
              <a:rect l="l" t="t" r="r" b="b"/>
              <a:pathLst>
                <a:path w="2703829" h="4069715">
                  <a:moveTo>
                    <a:pt x="1179334" y="0"/>
                  </a:moveTo>
                  <a:lnTo>
                    <a:pt x="0" y="1179372"/>
                  </a:lnTo>
                  <a:lnTo>
                    <a:pt x="846429" y="2025776"/>
                  </a:lnTo>
                  <a:lnTo>
                    <a:pt x="89509" y="2887649"/>
                  </a:lnTo>
                  <a:lnTo>
                    <a:pt x="1271308" y="4069448"/>
                  </a:lnTo>
                  <a:lnTo>
                    <a:pt x="2417838" y="2763862"/>
                  </a:lnTo>
                  <a:lnTo>
                    <a:pt x="2449341" y="2726436"/>
                  </a:lnTo>
                  <a:lnTo>
                    <a:pt x="2478995" y="2688029"/>
                  </a:lnTo>
                  <a:lnTo>
                    <a:pt x="2506802" y="2648701"/>
                  </a:lnTo>
                  <a:lnTo>
                    <a:pt x="2532764" y="2608512"/>
                  </a:lnTo>
                  <a:lnTo>
                    <a:pt x="2556882" y="2567521"/>
                  </a:lnTo>
                  <a:lnTo>
                    <a:pt x="2579159" y="2525788"/>
                  </a:lnTo>
                  <a:lnTo>
                    <a:pt x="2599597" y="2483370"/>
                  </a:lnTo>
                  <a:lnTo>
                    <a:pt x="2618197" y="2440329"/>
                  </a:lnTo>
                  <a:lnTo>
                    <a:pt x="2634961" y="2396724"/>
                  </a:lnTo>
                  <a:lnTo>
                    <a:pt x="2649891" y="2352613"/>
                  </a:lnTo>
                  <a:lnTo>
                    <a:pt x="2662990" y="2308056"/>
                  </a:lnTo>
                  <a:lnTo>
                    <a:pt x="2674259" y="2263112"/>
                  </a:lnTo>
                  <a:lnTo>
                    <a:pt x="2683699" y="2217841"/>
                  </a:lnTo>
                  <a:lnTo>
                    <a:pt x="2691314" y="2172303"/>
                  </a:lnTo>
                  <a:lnTo>
                    <a:pt x="2697104" y="2126555"/>
                  </a:lnTo>
                  <a:lnTo>
                    <a:pt x="2701072" y="2080659"/>
                  </a:lnTo>
                  <a:lnTo>
                    <a:pt x="2703220" y="2034673"/>
                  </a:lnTo>
                  <a:lnTo>
                    <a:pt x="2703549" y="1988656"/>
                  </a:lnTo>
                  <a:lnTo>
                    <a:pt x="2702062" y="1942668"/>
                  </a:lnTo>
                  <a:lnTo>
                    <a:pt x="2698760" y="1896769"/>
                  </a:lnTo>
                  <a:lnTo>
                    <a:pt x="2693645" y="1851016"/>
                  </a:lnTo>
                  <a:lnTo>
                    <a:pt x="2686720" y="1805471"/>
                  </a:lnTo>
                  <a:lnTo>
                    <a:pt x="2677985" y="1760193"/>
                  </a:lnTo>
                  <a:lnTo>
                    <a:pt x="2667444" y="1715239"/>
                  </a:lnTo>
                  <a:lnTo>
                    <a:pt x="2655097" y="1670671"/>
                  </a:lnTo>
                  <a:lnTo>
                    <a:pt x="2640947" y="1626548"/>
                  </a:lnTo>
                  <a:lnTo>
                    <a:pt x="2624996" y="1582927"/>
                  </a:lnTo>
                  <a:lnTo>
                    <a:pt x="2607246" y="1539870"/>
                  </a:lnTo>
                  <a:lnTo>
                    <a:pt x="2587698" y="1497436"/>
                  </a:lnTo>
                  <a:lnTo>
                    <a:pt x="2566354" y="1455683"/>
                  </a:lnTo>
                  <a:lnTo>
                    <a:pt x="2543217" y="1414671"/>
                  </a:lnTo>
                  <a:lnTo>
                    <a:pt x="2518288" y="1374460"/>
                  </a:lnTo>
                  <a:lnTo>
                    <a:pt x="2491570" y="1335108"/>
                  </a:lnTo>
                  <a:lnTo>
                    <a:pt x="2463063" y="1296676"/>
                  </a:lnTo>
                  <a:lnTo>
                    <a:pt x="2432770" y="1259222"/>
                  </a:lnTo>
                  <a:lnTo>
                    <a:pt x="2400694" y="1222806"/>
                  </a:lnTo>
                  <a:lnTo>
                    <a:pt x="2366835" y="1187488"/>
                  </a:lnTo>
                  <a:lnTo>
                    <a:pt x="1179334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2535820" y="4011942"/>
              <a:ext cx="6319297" cy="852169"/>
            </a:xfrm>
            <a:custGeom>
              <a:avLst/>
              <a:gdLst/>
              <a:ahLst/>
              <a:cxnLst/>
              <a:rect l="l" t="t" r="r" b="b"/>
              <a:pathLst>
                <a:path w="5914390" h="852170">
                  <a:moveTo>
                    <a:pt x="5913882" y="0"/>
                  </a:moveTo>
                  <a:lnTo>
                    <a:pt x="0" y="0"/>
                  </a:lnTo>
                  <a:lnTo>
                    <a:pt x="0" y="851827"/>
                  </a:lnTo>
                  <a:lnTo>
                    <a:pt x="5913882" y="851827"/>
                  </a:lnTo>
                  <a:lnTo>
                    <a:pt x="5913882" y="0"/>
                  </a:lnTo>
                  <a:close/>
                </a:path>
              </a:pathLst>
            </a:custGeom>
            <a:solidFill>
              <a:srgbClr val="FCCD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2584732" y="4211960"/>
            <a:ext cx="6266723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5080" algn="ctr"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Gouvernance</a:t>
            </a:r>
            <a:endParaRPr lang="fr-FR" sz="2400">
              <a:solidFill>
                <a:srgbClr val="2C3176"/>
              </a:solidFill>
              <a:latin typeface="Marianne" charset="0"/>
              <a:ea typeface="Marianne" charset="0"/>
              <a:cs typeface="Marianne" charset="0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0" y="6779035"/>
            <a:ext cx="1277112" cy="1676400"/>
          </a:xfrm>
          <a:prstGeom prst="rect">
            <a:avLst/>
          </a:prstGeom>
        </p:spPr>
      </p:pic>
      <p:sp>
        <p:nvSpPr>
          <p:cNvPr id="15" name="object 15"/>
          <p:cNvSpPr/>
          <p:nvPr/>
        </p:nvSpPr>
        <p:spPr>
          <a:xfrm>
            <a:off x="14710316" y="609837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69" h="729615">
                <a:moveTo>
                  <a:pt x="435330" y="0"/>
                </a:moveTo>
                <a:lnTo>
                  <a:pt x="0" y="0"/>
                </a:lnTo>
                <a:lnTo>
                  <a:pt x="0" y="432346"/>
                </a:lnTo>
                <a:lnTo>
                  <a:pt x="310299" y="432346"/>
                </a:lnTo>
                <a:lnTo>
                  <a:pt x="329539" y="729068"/>
                </a:lnTo>
                <a:lnTo>
                  <a:pt x="762787" y="729068"/>
                </a:lnTo>
                <a:lnTo>
                  <a:pt x="733640" y="279615"/>
                </a:lnTo>
                <a:lnTo>
                  <a:pt x="727061" y="233685"/>
                </a:lnTo>
                <a:lnTo>
                  <a:pt x="713799" y="190326"/>
                </a:lnTo>
                <a:lnTo>
                  <a:pt x="694421" y="150072"/>
                </a:lnTo>
                <a:lnTo>
                  <a:pt x="669498" y="113456"/>
                </a:lnTo>
                <a:lnTo>
                  <a:pt x="639597" y="81010"/>
                </a:lnTo>
                <a:lnTo>
                  <a:pt x="605287" y="53268"/>
                </a:lnTo>
                <a:lnTo>
                  <a:pt x="567137" y="30762"/>
                </a:lnTo>
                <a:lnTo>
                  <a:pt x="525715" y="14027"/>
                </a:lnTo>
                <a:lnTo>
                  <a:pt x="481590" y="3595"/>
                </a:lnTo>
                <a:lnTo>
                  <a:pt x="43533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9015671" y="7816955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70" h="729615">
                <a:moveTo>
                  <a:pt x="433247" y="0"/>
                </a:moveTo>
                <a:lnTo>
                  <a:pt x="0" y="0"/>
                </a:lnTo>
                <a:lnTo>
                  <a:pt x="29159" y="449453"/>
                </a:lnTo>
                <a:lnTo>
                  <a:pt x="35738" y="495383"/>
                </a:lnTo>
                <a:lnTo>
                  <a:pt x="49000" y="538742"/>
                </a:lnTo>
                <a:lnTo>
                  <a:pt x="68377" y="578996"/>
                </a:lnTo>
                <a:lnTo>
                  <a:pt x="93300" y="615612"/>
                </a:lnTo>
                <a:lnTo>
                  <a:pt x="123201" y="648058"/>
                </a:lnTo>
                <a:lnTo>
                  <a:pt x="157509" y="675800"/>
                </a:lnTo>
                <a:lnTo>
                  <a:pt x="195658" y="698305"/>
                </a:lnTo>
                <a:lnTo>
                  <a:pt x="237078" y="715041"/>
                </a:lnTo>
                <a:lnTo>
                  <a:pt x="281200" y="725473"/>
                </a:lnTo>
                <a:lnTo>
                  <a:pt x="327456" y="729068"/>
                </a:lnTo>
                <a:lnTo>
                  <a:pt x="762812" y="729068"/>
                </a:lnTo>
                <a:lnTo>
                  <a:pt x="762812" y="296722"/>
                </a:lnTo>
                <a:lnTo>
                  <a:pt x="452488" y="296722"/>
                </a:lnTo>
                <a:lnTo>
                  <a:pt x="43324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E37E82D1-EFE2-49F0-9765-0FD2A5819243}"/>
              </a:ext>
            </a:extLst>
          </p:cNvPr>
          <p:cNvSpPr txBox="1">
            <a:spLocks/>
          </p:cNvSpPr>
          <p:nvPr/>
        </p:nvSpPr>
        <p:spPr>
          <a:xfrm>
            <a:off x="1000795" y="2976937"/>
            <a:ext cx="2391405" cy="213840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3800" kern="0">
                <a:solidFill>
                  <a:srgbClr val="274084"/>
                </a:solidFill>
                <a:latin typeface="Marianne ExtraBold" charset="0"/>
                <a:ea typeface="Marianne ExtraBold" charset="0"/>
                <a:cs typeface="Marianne ExtraBold" charset="0"/>
              </a:rPr>
              <a:t>3.</a:t>
            </a:r>
            <a:endParaRPr kumimoji="0" lang="fr-FR" sz="13800" b="1" i="0" u="none" strike="noStrike" kern="0" cap="none" spc="0" normalizeH="0" baseline="0" noProof="0">
              <a:ln>
                <a:noFill/>
              </a:ln>
              <a:solidFill>
                <a:srgbClr val="274084"/>
              </a:solidFill>
              <a:effectLst/>
              <a:uLnTx/>
              <a:uFillTx/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1F5C01C7-DD97-49D5-8514-A10927B0559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7589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494D42F-FE63-46E1-A06C-4470DB2476D6}"/>
              </a:ext>
            </a:extLst>
          </p:cNvPr>
          <p:cNvSpPr/>
          <p:nvPr/>
        </p:nvSpPr>
        <p:spPr>
          <a:xfrm>
            <a:off x="3506973" y="1259632"/>
            <a:ext cx="3540907" cy="90604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Objectif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B2D949F-75BE-4542-AAD8-9D92267F64C5}"/>
              </a:ext>
            </a:extLst>
          </p:cNvPr>
          <p:cNvSpPr/>
          <p:nvPr/>
        </p:nvSpPr>
        <p:spPr>
          <a:xfrm>
            <a:off x="7388218" y="1259632"/>
            <a:ext cx="3540907" cy="90604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Parties prenantes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AF278D3-1C06-4D36-9D6D-B7056EB0B594}"/>
              </a:ext>
            </a:extLst>
          </p:cNvPr>
          <p:cNvSpPr/>
          <p:nvPr/>
        </p:nvSpPr>
        <p:spPr>
          <a:xfrm>
            <a:off x="11202278" y="1259632"/>
            <a:ext cx="3540907" cy="90604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Fréquence</a:t>
            </a:r>
          </a:p>
        </p:txBody>
      </p:sp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304529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/>
              <a:t>Gouvernanc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6902EE-D2D8-4DAA-9BDA-8997E4E75C85}"/>
              </a:ext>
            </a:extLst>
          </p:cNvPr>
          <p:cNvSpPr/>
          <p:nvPr/>
        </p:nvSpPr>
        <p:spPr>
          <a:xfrm>
            <a:off x="3595232" y="4479286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Piloter l’avancement et mettre à jour la feuille de rout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0E4D42A-0C33-470A-895C-C310B3E554B8}"/>
              </a:ext>
            </a:extLst>
          </p:cNvPr>
          <p:cNvSpPr/>
          <p:nvPr/>
        </p:nvSpPr>
        <p:spPr>
          <a:xfrm>
            <a:off x="3584695" y="2436149"/>
            <a:ext cx="3377575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Echanger sur les orientations stratégiques du programme : besoins de budgets, attribution de ressources complémentaires, adhérences avec d’autres programmes et les risques remontés…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75CAB7C-D68B-44A0-94D2-C42059D981C3}"/>
              </a:ext>
            </a:extLst>
          </p:cNvPr>
          <p:cNvSpPr/>
          <p:nvPr/>
        </p:nvSpPr>
        <p:spPr>
          <a:xfrm>
            <a:off x="3595232" y="6522423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Assurer l’avancement des plans d’action de chaque levier 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686F60B-94BB-447E-9865-F19867E6F443}"/>
              </a:ext>
            </a:extLst>
          </p:cNvPr>
          <p:cNvSpPr/>
          <p:nvPr/>
        </p:nvSpPr>
        <p:spPr>
          <a:xfrm>
            <a:off x="1331358" y="6756423"/>
            <a:ext cx="2029826" cy="1188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Opérationnel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C3FE238-EDD9-44F0-8F72-243E9C651E67}"/>
              </a:ext>
            </a:extLst>
          </p:cNvPr>
          <p:cNvSpPr/>
          <p:nvPr/>
        </p:nvSpPr>
        <p:spPr>
          <a:xfrm>
            <a:off x="1331358" y="2670149"/>
            <a:ext cx="2029826" cy="1188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Stratégique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7E43B71-C090-45F9-A3B9-7BE089155A0C}"/>
              </a:ext>
            </a:extLst>
          </p:cNvPr>
          <p:cNvSpPr/>
          <p:nvPr/>
        </p:nvSpPr>
        <p:spPr>
          <a:xfrm>
            <a:off x="1331358" y="4713286"/>
            <a:ext cx="2029826" cy="118800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spcBef>
                <a:spcPts val="600"/>
              </a:spcBef>
            </a:pPr>
            <a:r>
              <a:rPr lang="fr-FR" sz="2000" b="1">
                <a:solidFill>
                  <a:srgbClr val="383C7E"/>
                </a:solidFill>
                <a:latin typeface="Marianne" panose="020B0604020202020204" charset="0"/>
              </a:rPr>
              <a:t>Pilotage</a:t>
            </a:r>
          </a:p>
        </p:txBody>
      </p:sp>
      <p:pic>
        <p:nvPicPr>
          <p:cNvPr id="1026" name="Picture 2" descr="Calendar ">
            <a:extLst>
              <a:ext uri="{FF2B5EF4-FFF2-40B4-BE49-F238E27FC236}">
                <a16:creationId xmlns:a16="http://schemas.microsoft.com/office/drawing/2014/main" id="{7915E50B-C5EC-4F9C-A322-9326F1E5A9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8360" y="1427425"/>
            <a:ext cx="570463" cy="570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Team ">
            <a:extLst>
              <a:ext uri="{FF2B5EF4-FFF2-40B4-BE49-F238E27FC236}">
                <a16:creationId xmlns:a16="http://schemas.microsoft.com/office/drawing/2014/main" id="{70529A1E-B5DB-4ABE-AAE5-125A4CEDBD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0075" y="1378305"/>
            <a:ext cx="667925" cy="667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Target ">
            <a:extLst>
              <a:ext uri="{FF2B5EF4-FFF2-40B4-BE49-F238E27FC236}">
                <a16:creationId xmlns:a16="http://schemas.microsoft.com/office/drawing/2014/main" id="{11B061FD-A4CB-4B32-A1FE-D3E4090648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8276" y="1436258"/>
            <a:ext cx="552797" cy="552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43DC5E3-2C10-4425-BDED-15305850C906}"/>
              </a:ext>
            </a:extLst>
          </p:cNvPr>
          <p:cNvSpPr/>
          <p:nvPr/>
        </p:nvSpPr>
        <p:spPr>
          <a:xfrm>
            <a:off x="7398755" y="4479286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fr-FR" sz="1600" b="1">
              <a:solidFill>
                <a:srgbClr val="274084"/>
              </a:solidFill>
              <a:latin typeface="Marianne" panose="020B060402020202020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Référent du program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Responsables des services (collectivem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b="1">
              <a:solidFill>
                <a:srgbClr val="274084"/>
              </a:solidFill>
              <a:latin typeface="Marianne" panose="020B060402020202020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0F5B79-4724-45C7-A09D-CCB46E948F61}"/>
              </a:ext>
            </a:extLst>
          </p:cNvPr>
          <p:cNvSpPr/>
          <p:nvPr/>
        </p:nvSpPr>
        <p:spPr>
          <a:xfrm>
            <a:off x="7398755" y="6522423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Référent du program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Responsables des services (individuellement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E04BD91-C885-43EB-B5E2-40AC9BD596F2}"/>
              </a:ext>
            </a:extLst>
          </p:cNvPr>
          <p:cNvSpPr/>
          <p:nvPr/>
        </p:nvSpPr>
        <p:spPr>
          <a:xfrm>
            <a:off x="7388218" y="2436149"/>
            <a:ext cx="3377575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Elu(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Direction génér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Référent du programm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5B0D82-4C2A-4399-BCEA-33AE50000AB1}"/>
              </a:ext>
            </a:extLst>
          </p:cNvPr>
          <p:cNvSpPr txBox="1">
            <a:spLocks/>
          </p:cNvSpPr>
          <p:nvPr/>
        </p:nvSpPr>
        <p:spPr>
          <a:xfrm>
            <a:off x="3298140" y="8377845"/>
            <a:ext cx="9860969" cy="61555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latin typeface="Marianne" panose="020B0604020202020204"/>
              </a:rPr>
              <a:t>La fréquence des instances de gouvernance est modulable selon les besoins de la collectivité</a:t>
            </a:r>
          </a:p>
          <a:p>
            <a:pPr algn="ctr"/>
            <a:endParaRPr lang="fr-FR" sz="1400" b="1" i="1">
              <a:latin typeface="Marianne" panose="020B0604020202020204"/>
            </a:endParaRPr>
          </a:p>
        </p:txBody>
      </p:sp>
      <p:pic>
        <p:nvPicPr>
          <p:cNvPr id="26" name="Picture 2" descr="Pencil ">
            <a:extLst>
              <a:ext uri="{FF2B5EF4-FFF2-40B4-BE49-F238E27FC236}">
                <a16:creationId xmlns:a16="http://schemas.microsoft.com/office/drawing/2014/main" id="{436F74DE-C1C4-4F72-87A8-4A1AB56AEE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96752" y="2843808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838CD795-18B5-4AA3-9397-55C9E1E6D677}"/>
              </a:ext>
            </a:extLst>
          </p:cNvPr>
          <p:cNvSpPr/>
          <p:nvPr/>
        </p:nvSpPr>
        <p:spPr>
          <a:xfrm>
            <a:off x="11202278" y="4479286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Trimestrie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3177B5C-B2DB-4E54-8EF9-4C369A09A494}"/>
              </a:ext>
            </a:extLst>
          </p:cNvPr>
          <p:cNvSpPr/>
          <p:nvPr/>
        </p:nvSpPr>
        <p:spPr>
          <a:xfrm>
            <a:off x="11202278" y="6522423"/>
            <a:ext cx="3356500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Mensuel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01E08D2-D22E-412E-8B9B-36F65D141C99}"/>
              </a:ext>
            </a:extLst>
          </p:cNvPr>
          <p:cNvSpPr/>
          <p:nvPr/>
        </p:nvSpPr>
        <p:spPr>
          <a:xfrm>
            <a:off x="11191741" y="2436149"/>
            <a:ext cx="3377575" cy="1656000"/>
          </a:xfrm>
          <a:prstGeom prst="rect">
            <a:avLst/>
          </a:prstGeom>
          <a:solidFill>
            <a:srgbClr val="C7C7C7">
              <a:alpha val="14902"/>
            </a:srgbClr>
          </a:solidFill>
          <a:ln w="19050"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/>
            <a:r>
              <a:rPr lang="fr-FR" sz="1600" b="1" dirty="0">
                <a:solidFill>
                  <a:srgbClr val="274084"/>
                </a:solidFill>
                <a:highlight>
                  <a:srgbClr val="FFFF00"/>
                </a:highlight>
                <a:latin typeface="Marianne" panose="020B0604020202020204" charset="0"/>
              </a:rPr>
              <a:t>Semestriel</a:t>
            </a:r>
          </a:p>
        </p:txBody>
      </p:sp>
      <p:pic>
        <p:nvPicPr>
          <p:cNvPr id="32" name="Image 31">
            <a:extLst>
              <a:ext uri="{FF2B5EF4-FFF2-40B4-BE49-F238E27FC236}">
                <a16:creationId xmlns:a16="http://schemas.microsoft.com/office/drawing/2014/main" id="{A23A6704-BAE5-4277-9094-EFFE0422156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3536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924877" y="8070484"/>
            <a:ext cx="393700" cy="376555"/>
          </a:xfrm>
          <a:custGeom>
            <a:avLst/>
            <a:gdLst/>
            <a:ahLst/>
            <a:cxnLst/>
            <a:rect l="l" t="t" r="r" b="b"/>
            <a:pathLst>
              <a:path w="393700" h="376554">
                <a:moveTo>
                  <a:pt x="217690" y="0"/>
                </a:moveTo>
                <a:lnTo>
                  <a:pt x="6223" y="0"/>
                </a:lnTo>
                <a:lnTo>
                  <a:pt x="0" y="6654"/>
                </a:lnTo>
                <a:lnTo>
                  <a:pt x="14617" y="232092"/>
                </a:lnTo>
                <a:lnTo>
                  <a:pt x="24862" y="278192"/>
                </a:lnTo>
                <a:lnTo>
                  <a:pt x="47735" y="317882"/>
                </a:lnTo>
                <a:lnTo>
                  <a:pt x="80889" y="348960"/>
                </a:lnTo>
                <a:lnTo>
                  <a:pt x="121975" y="369222"/>
                </a:lnTo>
                <a:lnTo>
                  <a:pt x="168643" y="376466"/>
                </a:lnTo>
                <a:lnTo>
                  <a:pt x="387350" y="376466"/>
                </a:lnTo>
                <a:lnTo>
                  <a:pt x="393433" y="370382"/>
                </a:lnTo>
                <a:lnTo>
                  <a:pt x="393433" y="159308"/>
                </a:lnTo>
                <a:lnTo>
                  <a:pt x="387350" y="153225"/>
                </a:lnTo>
                <a:lnTo>
                  <a:pt x="238785" y="153225"/>
                </a:lnTo>
                <a:lnTo>
                  <a:pt x="232854" y="147650"/>
                </a:lnTo>
                <a:lnTo>
                  <a:pt x="232384" y="140487"/>
                </a:lnTo>
                <a:lnTo>
                  <a:pt x="223647" y="5575"/>
                </a:lnTo>
                <a:lnTo>
                  <a:pt x="21769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object 15"/>
          <p:cNvGrpSpPr/>
          <p:nvPr/>
        </p:nvGrpSpPr>
        <p:grpSpPr>
          <a:xfrm rot="5400000">
            <a:off x="14487029" y="419735"/>
            <a:ext cx="1303020" cy="1377950"/>
            <a:chOff x="845064" y="548305"/>
            <a:chExt cx="1303020" cy="1377950"/>
          </a:xfrm>
        </p:grpSpPr>
        <p:sp>
          <p:nvSpPr>
            <p:cNvPr id="16" name="object 16"/>
            <p:cNvSpPr/>
            <p:nvPr/>
          </p:nvSpPr>
          <p:spPr>
            <a:xfrm>
              <a:off x="925361" y="647420"/>
              <a:ext cx="1222375" cy="1278890"/>
            </a:xfrm>
            <a:custGeom>
              <a:avLst/>
              <a:gdLst/>
              <a:ahLst/>
              <a:cxnLst/>
              <a:rect l="l" t="t" r="r" b="b"/>
              <a:pathLst>
                <a:path w="1222375" h="1278889">
                  <a:moveTo>
                    <a:pt x="1222260" y="0"/>
                  </a:moveTo>
                  <a:lnTo>
                    <a:pt x="468744" y="48869"/>
                  </a:lnTo>
                  <a:lnTo>
                    <a:pt x="420167" y="54396"/>
                  </a:lnTo>
                  <a:lnTo>
                    <a:pt x="373142" y="64440"/>
                  </a:lnTo>
                  <a:lnTo>
                    <a:pt x="327888" y="78768"/>
                  </a:lnTo>
                  <a:lnTo>
                    <a:pt x="284623" y="97147"/>
                  </a:lnTo>
                  <a:lnTo>
                    <a:pt x="243564" y="119345"/>
                  </a:lnTo>
                  <a:lnTo>
                    <a:pt x="204930" y="145128"/>
                  </a:lnTo>
                  <a:lnTo>
                    <a:pt x="168940" y="174264"/>
                  </a:lnTo>
                  <a:lnTo>
                    <a:pt x="135812" y="206521"/>
                  </a:lnTo>
                  <a:lnTo>
                    <a:pt x="105763" y="241664"/>
                  </a:lnTo>
                  <a:lnTo>
                    <a:pt x="79013" y="279462"/>
                  </a:lnTo>
                  <a:lnTo>
                    <a:pt x="55780" y="319682"/>
                  </a:lnTo>
                  <a:lnTo>
                    <a:pt x="36281" y="362090"/>
                  </a:lnTo>
                  <a:lnTo>
                    <a:pt x="20735" y="406455"/>
                  </a:lnTo>
                  <a:lnTo>
                    <a:pt x="9361" y="452543"/>
                  </a:lnTo>
                  <a:lnTo>
                    <a:pt x="2376" y="500121"/>
                  </a:lnTo>
                  <a:lnTo>
                    <a:pt x="0" y="548957"/>
                  </a:lnTo>
                  <a:lnTo>
                    <a:pt x="0" y="1278775"/>
                  </a:lnTo>
                  <a:lnTo>
                    <a:pt x="724814" y="1278775"/>
                  </a:lnTo>
                  <a:lnTo>
                    <a:pt x="724814" y="758558"/>
                  </a:lnTo>
                  <a:lnTo>
                    <a:pt x="1222260" y="726313"/>
                  </a:lnTo>
                  <a:lnTo>
                    <a:pt x="1222260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845064" y="548305"/>
              <a:ext cx="729615" cy="763270"/>
            </a:xfrm>
            <a:custGeom>
              <a:avLst/>
              <a:gdLst/>
              <a:ahLst/>
              <a:cxnLst/>
              <a:rect l="l" t="t" r="r" b="b"/>
              <a:pathLst>
                <a:path w="729615" h="763269">
                  <a:moveTo>
                    <a:pt x="729068" y="0"/>
                  </a:moveTo>
                  <a:lnTo>
                    <a:pt x="279603" y="29146"/>
                  </a:lnTo>
                  <a:lnTo>
                    <a:pt x="233676" y="35725"/>
                  </a:lnTo>
                  <a:lnTo>
                    <a:pt x="190320" y="48988"/>
                  </a:lnTo>
                  <a:lnTo>
                    <a:pt x="150068" y="68365"/>
                  </a:lnTo>
                  <a:lnTo>
                    <a:pt x="113453" y="93289"/>
                  </a:lnTo>
                  <a:lnTo>
                    <a:pt x="81008" y="123190"/>
                  </a:lnTo>
                  <a:lnTo>
                    <a:pt x="53267" y="157499"/>
                  </a:lnTo>
                  <a:lnTo>
                    <a:pt x="30762" y="195650"/>
                  </a:lnTo>
                  <a:lnTo>
                    <a:pt x="14027" y="237072"/>
                  </a:lnTo>
                  <a:lnTo>
                    <a:pt x="3595" y="281197"/>
                  </a:lnTo>
                  <a:lnTo>
                    <a:pt x="0" y="327456"/>
                  </a:lnTo>
                  <a:lnTo>
                    <a:pt x="0" y="762787"/>
                  </a:lnTo>
                  <a:lnTo>
                    <a:pt x="432346" y="762787"/>
                  </a:lnTo>
                  <a:lnTo>
                    <a:pt x="432346" y="452488"/>
                  </a:lnTo>
                  <a:lnTo>
                    <a:pt x="729068" y="433247"/>
                  </a:lnTo>
                  <a:lnTo>
                    <a:pt x="729068" y="0"/>
                  </a:lnTo>
                  <a:close/>
                </a:path>
              </a:pathLst>
            </a:custGeom>
            <a:solidFill>
              <a:srgbClr val="0680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>
            <a:spLocks noGrp="1"/>
          </p:cNvSpPr>
          <p:nvPr>
            <p:ph type="title"/>
          </p:nvPr>
        </p:nvSpPr>
        <p:spPr>
          <a:xfrm>
            <a:off x="1719288" y="2604675"/>
            <a:ext cx="12154215" cy="22288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51230" algn="ctr">
              <a:lnSpc>
                <a:spcPct val="100000"/>
              </a:lnSpc>
              <a:spcBef>
                <a:spcPts val="100"/>
              </a:spcBef>
            </a:pPr>
            <a:r>
              <a:rPr lang="fr-FR" sz="7200" spc="335" dirty="0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Formalisation de la feuille de route</a:t>
            </a:r>
            <a:endParaRPr sz="7200" spc="335" dirty="0">
              <a:solidFill>
                <a:srgbClr val="2C3176"/>
              </a:solidFill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sp>
        <p:nvSpPr>
          <p:cNvPr id="19" name="ZoneTexte 20">
            <a:extLst>
              <a:ext uri="{FF2B5EF4-FFF2-40B4-BE49-F238E27FC236}">
                <a16:creationId xmlns:a16="http://schemas.microsoft.com/office/drawing/2014/main" id="{FBFD18A8-3F1C-4ABD-A4F0-6E3BBC1DA054}"/>
              </a:ext>
            </a:extLst>
          </p:cNvPr>
          <p:cNvSpPr txBox="1"/>
          <p:nvPr/>
        </p:nvSpPr>
        <p:spPr>
          <a:xfrm>
            <a:off x="1431256" y="7020272"/>
            <a:ext cx="597666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i="1">
                <a:solidFill>
                  <a:srgbClr val="2C3176"/>
                </a:solidFill>
                <a:highlight>
                  <a:srgbClr val="FFFF00"/>
                </a:highlight>
                <a:latin typeface="Marianne" charset="0"/>
                <a:ea typeface="Marianne" charset="0"/>
                <a:cs typeface="Marianne" charset="0"/>
              </a:rPr>
              <a:t>Date</a:t>
            </a:r>
          </a:p>
          <a:p>
            <a:r>
              <a:rPr lang="fr-FR" sz="3200" i="1">
                <a:solidFill>
                  <a:srgbClr val="2C3176"/>
                </a:solidFill>
                <a:highlight>
                  <a:srgbClr val="FFFF00"/>
                </a:highlight>
                <a:latin typeface="Marianne" charset="0"/>
                <a:ea typeface="Marianne" charset="0"/>
                <a:cs typeface="Marianne" charset="0"/>
              </a:rPr>
              <a:t>Logo collectivité territorial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E3FA651-BF66-496E-B479-04F26237A749}"/>
              </a:ext>
            </a:extLst>
          </p:cNvPr>
          <p:cNvSpPr/>
          <p:nvPr/>
        </p:nvSpPr>
        <p:spPr>
          <a:xfrm>
            <a:off x="3937000" y="4941491"/>
            <a:ext cx="8382000" cy="925909"/>
          </a:xfrm>
          <a:prstGeom prst="rect">
            <a:avLst/>
          </a:prstGeom>
          <a:solidFill>
            <a:srgbClr val="FCC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2C3176"/>
              </a:solidFill>
            </a:endParaRPr>
          </a:p>
        </p:txBody>
      </p:sp>
      <p:sp>
        <p:nvSpPr>
          <p:cNvPr id="24" name="ZoneTexte 20">
            <a:extLst>
              <a:ext uri="{FF2B5EF4-FFF2-40B4-BE49-F238E27FC236}">
                <a16:creationId xmlns:a16="http://schemas.microsoft.com/office/drawing/2014/main" id="{3011BB64-EA2A-4F2E-B6DE-57231A374607}"/>
              </a:ext>
            </a:extLst>
          </p:cNvPr>
          <p:cNvSpPr txBox="1"/>
          <p:nvPr/>
        </p:nvSpPr>
        <p:spPr>
          <a:xfrm>
            <a:off x="4241800" y="5121631"/>
            <a:ext cx="8991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Démarche Numérique Responsable</a:t>
            </a:r>
          </a:p>
        </p:txBody>
      </p:sp>
      <p:pic>
        <p:nvPicPr>
          <p:cNvPr id="25" name="Picture 2" descr="Pencil ">
            <a:extLst>
              <a:ext uri="{FF2B5EF4-FFF2-40B4-BE49-F238E27FC236}">
                <a16:creationId xmlns:a16="http://schemas.microsoft.com/office/drawing/2014/main" id="{2750B289-0F48-4525-A3AE-32BC6DE595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407" y="7749382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29199C62-3F66-4D64-9BF0-EB0A05CCE3F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4396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/>
          <p:nvPr/>
        </p:nvSpPr>
        <p:spPr>
          <a:xfrm>
            <a:off x="3684683" y="3054888"/>
            <a:ext cx="435600" cy="435600"/>
          </a:xfrm>
          <a:custGeom>
            <a:avLst/>
            <a:gdLst/>
            <a:ahLst/>
            <a:cxnLst/>
            <a:rect l="l" t="t" r="r" b="b"/>
            <a:pathLst>
              <a:path w="295275" h="282575">
                <a:moveTo>
                  <a:pt x="148297" y="0"/>
                </a:moveTo>
                <a:lnTo>
                  <a:pt x="101541" y="7143"/>
                </a:lnTo>
                <a:lnTo>
                  <a:pt x="60846" y="27018"/>
                </a:lnTo>
                <a:lnTo>
                  <a:pt x="28700" y="57288"/>
                </a:lnTo>
                <a:lnTo>
                  <a:pt x="7589" y="95619"/>
                </a:lnTo>
                <a:lnTo>
                  <a:pt x="0" y="139674"/>
                </a:lnTo>
                <a:lnTo>
                  <a:pt x="7589" y="184359"/>
                </a:lnTo>
                <a:lnTo>
                  <a:pt x="28700" y="223509"/>
                </a:lnTo>
                <a:lnTo>
                  <a:pt x="60846" y="254598"/>
                </a:lnTo>
                <a:lnTo>
                  <a:pt x="101541" y="275102"/>
                </a:lnTo>
                <a:lnTo>
                  <a:pt x="148297" y="282498"/>
                </a:lnTo>
                <a:lnTo>
                  <a:pt x="195199" y="275102"/>
                </a:lnTo>
                <a:lnTo>
                  <a:pt x="235544" y="254598"/>
                </a:lnTo>
                <a:lnTo>
                  <a:pt x="267113" y="223509"/>
                </a:lnTo>
                <a:lnTo>
                  <a:pt x="287683" y="184359"/>
                </a:lnTo>
                <a:lnTo>
                  <a:pt x="295033" y="139674"/>
                </a:lnTo>
                <a:lnTo>
                  <a:pt x="287683" y="95619"/>
                </a:lnTo>
                <a:lnTo>
                  <a:pt x="267113" y="57288"/>
                </a:lnTo>
                <a:lnTo>
                  <a:pt x="235544" y="27018"/>
                </a:lnTo>
                <a:lnTo>
                  <a:pt x="195199" y="7143"/>
                </a:lnTo>
                <a:lnTo>
                  <a:pt x="148297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684683" y="3963833"/>
            <a:ext cx="435600" cy="435600"/>
          </a:xfrm>
          <a:custGeom>
            <a:avLst/>
            <a:gdLst/>
            <a:ahLst/>
            <a:cxnLst/>
            <a:rect l="l" t="t" r="r" b="b"/>
            <a:pathLst>
              <a:path w="295275" h="282575">
                <a:moveTo>
                  <a:pt x="148297" y="0"/>
                </a:moveTo>
                <a:lnTo>
                  <a:pt x="101541" y="7143"/>
                </a:lnTo>
                <a:lnTo>
                  <a:pt x="60846" y="27018"/>
                </a:lnTo>
                <a:lnTo>
                  <a:pt x="28700" y="57288"/>
                </a:lnTo>
                <a:lnTo>
                  <a:pt x="7589" y="95619"/>
                </a:lnTo>
                <a:lnTo>
                  <a:pt x="0" y="139674"/>
                </a:lnTo>
                <a:lnTo>
                  <a:pt x="7589" y="184359"/>
                </a:lnTo>
                <a:lnTo>
                  <a:pt x="28700" y="223509"/>
                </a:lnTo>
                <a:lnTo>
                  <a:pt x="60846" y="254598"/>
                </a:lnTo>
                <a:lnTo>
                  <a:pt x="101541" y="275102"/>
                </a:lnTo>
                <a:lnTo>
                  <a:pt x="148297" y="282498"/>
                </a:lnTo>
                <a:lnTo>
                  <a:pt x="195199" y="275102"/>
                </a:lnTo>
                <a:lnTo>
                  <a:pt x="235544" y="254598"/>
                </a:lnTo>
                <a:lnTo>
                  <a:pt x="267113" y="223509"/>
                </a:lnTo>
                <a:lnTo>
                  <a:pt x="287683" y="184359"/>
                </a:lnTo>
                <a:lnTo>
                  <a:pt x="295033" y="139674"/>
                </a:lnTo>
                <a:lnTo>
                  <a:pt x="287683" y="95619"/>
                </a:lnTo>
                <a:lnTo>
                  <a:pt x="267113" y="57288"/>
                </a:lnTo>
                <a:lnTo>
                  <a:pt x="235544" y="27018"/>
                </a:lnTo>
                <a:lnTo>
                  <a:pt x="195199" y="7143"/>
                </a:lnTo>
                <a:lnTo>
                  <a:pt x="148297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416194" y="2664058"/>
            <a:ext cx="6614266" cy="35950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250000"/>
              </a:lnSpc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1. Vision synthétique de la feuille de route</a:t>
            </a:r>
          </a:p>
          <a:p>
            <a:pPr marL="12700" marR="5080">
              <a:lnSpc>
                <a:spcPct val="250000"/>
              </a:lnSpc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2. Fiches actions détaillées</a:t>
            </a:r>
          </a:p>
          <a:p>
            <a:pPr marL="12700" marR="5080">
              <a:lnSpc>
                <a:spcPct val="250000"/>
              </a:lnSpc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3. Gouvernance</a:t>
            </a:r>
          </a:p>
          <a:p>
            <a:pPr marL="12700" marR="5080">
              <a:lnSpc>
                <a:spcPct val="250000"/>
              </a:lnSpc>
              <a:spcBef>
                <a:spcPts val="100"/>
              </a:spcBef>
            </a:pPr>
            <a:endParaRPr lang="fr-FR" sz="2400" b="1">
              <a:solidFill>
                <a:srgbClr val="2C3176"/>
              </a:solidFill>
              <a:latin typeface="Marianne" charset="0"/>
              <a:ea typeface="Marianne" charset="0"/>
              <a:cs typeface="Marianne" charset="0"/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-2101516" y="-14437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</p:txBody>
      </p:sp>
      <p:grpSp>
        <p:nvGrpSpPr>
          <p:cNvPr id="13" name="object 15"/>
          <p:cNvGrpSpPr/>
          <p:nvPr/>
        </p:nvGrpSpPr>
        <p:grpSpPr>
          <a:xfrm rot="5400000">
            <a:off x="14487029" y="419735"/>
            <a:ext cx="1303020" cy="1377950"/>
            <a:chOff x="845064" y="548305"/>
            <a:chExt cx="1303020" cy="1377950"/>
          </a:xfrm>
        </p:grpSpPr>
        <p:sp>
          <p:nvSpPr>
            <p:cNvPr id="14" name="object 16"/>
            <p:cNvSpPr/>
            <p:nvPr/>
          </p:nvSpPr>
          <p:spPr>
            <a:xfrm>
              <a:off x="925361" y="647420"/>
              <a:ext cx="1222375" cy="1278890"/>
            </a:xfrm>
            <a:custGeom>
              <a:avLst/>
              <a:gdLst/>
              <a:ahLst/>
              <a:cxnLst/>
              <a:rect l="l" t="t" r="r" b="b"/>
              <a:pathLst>
                <a:path w="1222375" h="1278889">
                  <a:moveTo>
                    <a:pt x="1222260" y="0"/>
                  </a:moveTo>
                  <a:lnTo>
                    <a:pt x="468744" y="48869"/>
                  </a:lnTo>
                  <a:lnTo>
                    <a:pt x="420167" y="54396"/>
                  </a:lnTo>
                  <a:lnTo>
                    <a:pt x="373142" y="64440"/>
                  </a:lnTo>
                  <a:lnTo>
                    <a:pt x="327888" y="78768"/>
                  </a:lnTo>
                  <a:lnTo>
                    <a:pt x="284623" y="97147"/>
                  </a:lnTo>
                  <a:lnTo>
                    <a:pt x="243564" y="119345"/>
                  </a:lnTo>
                  <a:lnTo>
                    <a:pt x="204930" y="145128"/>
                  </a:lnTo>
                  <a:lnTo>
                    <a:pt x="168940" y="174264"/>
                  </a:lnTo>
                  <a:lnTo>
                    <a:pt x="135812" y="206521"/>
                  </a:lnTo>
                  <a:lnTo>
                    <a:pt x="105763" y="241664"/>
                  </a:lnTo>
                  <a:lnTo>
                    <a:pt x="79013" y="279462"/>
                  </a:lnTo>
                  <a:lnTo>
                    <a:pt x="55780" y="319682"/>
                  </a:lnTo>
                  <a:lnTo>
                    <a:pt x="36281" y="362090"/>
                  </a:lnTo>
                  <a:lnTo>
                    <a:pt x="20735" y="406455"/>
                  </a:lnTo>
                  <a:lnTo>
                    <a:pt x="9361" y="452543"/>
                  </a:lnTo>
                  <a:lnTo>
                    <a:pt x="2376" y="500121"/>
                  </a:lnTo>
                  <a:lnTo>
                    <a:pt x="0" y="548957"/>
                  </a:lnTo>
                  <a:lnTo>
                    <a:pt x="0" y="1278775"/>
                  </a:lnTo>
                  <a:lnTo>
                    <a:pt x="724814" y="1278775"/>
                  </a:lnTo>
                  <a:lnTo>
                    <a:pt x="724814" y="758558"/>
                  </a:lnTo>
                  <a:lnTo>
                    <a:pt x="1222260" y="726313"/>
                  </a:lnTo>
                  <a:lnTo>
                    <a:pt x="1222260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7"/>
            <p:cNvSpPr/>
            <p:nvPr/>
          </p:nvSpPr>
          <p:spPr>
            <a:xfrm>
              <a:off x="845064" y="548305"/>
              <a:ext cx="729615" cy="763270"/>
            </a:xfrm>
            <a:custGeom>
              <a:avLst/>
              <a:gdLst/>
              <a:ahLst/>
              <a:cxnLst/>
              <a:rect l="l" t="t" r="r" b="b"/>
              <a:pathLst>
                <a:path w="729615" h="763269">
                  <a:moveTo>
                    <a:pt x="729068" y="0"/>
                  </a:moveTo>
                  <a:lnTo>
                    <a:pt x="279603" y="29146"/>
                  </a:lnTo>
                  <a:lnTo>
                    <a:pt x="233676" y="35725"/>
                  </a:lnTo>
                  <a:lnTo>
                    <a:pt x="190320" y="48988"/>
                  </a:lnTo>
                  <a:lnTo>
                    <a:pt x="150068" y="68365"/>
                  </a:lnTo>
                  <a:lnTo>
                    <a:pt x="113453" y="93289"/>
                  </a:lnTo>
                  <a:lnTo>
                    <a:pt x="81008" y="123190"/>
                  </a:lnTo>
                  <a:lnTo>
                    <a:pt x="53267" y="157499"/>
                  </a:lnTo>
                  <a:lnTo>
                    <a:pt x="30762" y="195650"/>
                  </a:lnTo>
                  <a:lnTo>
                    <a:pt x="14027" y="237072"/>
                  </a:lnTo>
                  <a:lnTo>
                    <a:pt x="3595" y="281197"/>
                  </a:lnTo>
                  <a:lnTo>
                    <a:pt x="0" y="327456"/>
                  </a:lnTo>
                  <a:lnTo>
                    <a:pt x="0" y="762787"/>
                  </a:lnTo>
                  <a:lnTo>
                    <a:pt x="432346" y="762787"/>
                  </a:lnTo>
                  <a:lnTo>
                    <a:pt x="432346" y="452488"/>
                  </a:lnTo>
                  <a:lnTo>
                    <a:pt x="729068" y="433247"/>
                  </a:lnTo>
                  <a:lnTo>
                    <a:pt x="729068" y="0"/>
                  </a:lnTo>
                  <a:close/>
                </a:path>
              </a:pathLst>
            </a:custGeom>
            <a:solidFill>
              <a:srgbClr val="06806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6">
            <a:extLst>
              <a:ext uri="{FF2B5EF4-FFF2-40B4-BE49-F238E27FC236}">
                <a16:creationId xmlns:a16="http://schemas.microsoft.com/office/drawing/2014/main" id="{DA674DB2-A6FB-4D13-9AAB-ADA40DFEA54F}"/>
              </a:ext>
            </a:extLst>
          </p:cNvPr>
          <p:cNvSpPr/>
          <p:nvPr/>
        </p:nvSpPr>
        <p:spPr>
          <a:xfrm>
            <a:off x="3684683" y="4872777"/>
            <a:ext cx="435600" cy="435600"/>
          </a:xfrm>
          <a:custGeom>
            <a:avLst/>
            <a:gdLst/>
            <a:ahLst/>
            <a:cxnLst/>
            <a:rect l="l" t="t" r="r" b="b"/>
            <a:pathLst>
              <a:path w="295275" h="282575">
                <a:moveTo>
                  <a:pt x="148297" y="0"/>
                </a:moveTo>
                <a:lnTo>
                  <a:pt x="101541" y="7143"/>
                </a:lnTo>
                <a:lnTo>
                  <a:pt x="60846" y="27018"/>
                </a:lnTo>
                <a:lnTo>
                  <a:pt x="28700" y="57288"/>
                </a:lnTo>
                <a:lnTo>
                  <a:pt x="7589" y="95619"/>
                </a:lnTo>
                <a:lnTo>
                  <a:pt x="0" y="139674"/>
                </a:lnTo>
                <a:lnTo>
                  <a:pt x="7589" y="184359"/>
                </a:lnTo>
                <a:lnTo>
                  <a:pt x="28700" y="223509"/>
                </a:lnTo>
                <a:lnTo>
                  <a:pt x="60846" y="254598"/>
                </a:lnTo>
                <a:lnTo>
                  <a:pt x="101541" y="275102"/>
                </a:lnTo>
                <a:lnTo>
                  <a:pt x="148297" y="282498"/>
                </a:lnTo>
                <a:lnTo>
                  <a:pt x="195199" y="275102"/>
                </a:lnTo>
                <a:lnTo>
                  <a:pt x="235544" y="254598"/>
                </a:lnTo>
                <a:lnTo>
                  <a:pt x="267113" y="223509"/>
                </a:lnTo>
                <a:lnTo>
                  <a:pt x="287683" y="184359"/>
                </a:lnTo>
                <a:lnTo>
                  <a:pt x="295033" y="139674"/>
                </a:lnTo>
                <a:lnTo>
                  <a:pt x="287683" y="95619"/>
                </a:lnTo>
                <a:lnTo>
                  <a:pt x="267113" y="57288"/>
                </a:lnTo>
                <a:lnTo>
                  <a:pt x="235544" y="27018"/>
                </a:lnTo>
                <a:lnTo>
                  <a:pt x="195199" y="7143"/>
                </a:lnTo>
                <a:lnTo>
                  <a:pt x="148297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14">
            <a:extLst>
              <a:ext uri="{FF2B5EF4-FFF2-40B4-BE49-F238E27FC236}">
                <a16:creationId xmlns:a16="http://schemas.microsoft.com/office/drawing/2014/main" id="{08C2AE7C-AE63-4F71-A978-D1452896F3ED}"/>
              </a:ext>
            </a:extLst>
          </p:cNvPr>
          <p:cNvSpPr txBox="1">
            <a:spLocks/>
          </p:cNvSpPr>
          <p:nvPr/>
        </p:nvSpPr>
        <p:spPr>
          <a:xfrm>
            <a:off x="1655588" y="549888"/>
            <a:ext cx="12873212" cy="69185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algn="ctr">
              <a:spcBef>
                <a:spcPts val="114"/>
              </a:spcBef>
            </a:pPr>
            <a:r>
              <a:rPr lang="fr-FR" sz="4400" kern="0" spc="-75">
                <a:solidFill>
                  <a:srgbClr val="2C3176"/>
                </a:solidFill>
                <a:latin typeface="Marianne ExtraBold" charset="0"/>
                <a:ea typeface="Marianne ExtraBold" charset="0"/>
                <a:cs typeface="Marianne ExtraBold" charset="0"/>
              </a:rPr>
              <a:t>Sommaire de la feuille de rout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ED92112B-87FA-40EB-BD29-F803C985475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2800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CC61595C-E020-4633-8A7F-ADEB4F8E4F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50" r="30242"/>
          <a:stretch/>
        </p:blipFill>
        <p:spPr bwMode="auto">
          <a:xfrm>
            <a:off x="9239689" y="720497"/>
            <a:ext cx="5845663" cy="7569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object 11"/>
          <p:cNvGrpSpPr/>
          <p:nvPr/>
        </p:nvGrpSpPr>
        <p:grpSpPr>
          <a:xfrm>
            <a:off x="2535820" y="2403126"/>
            <a:ext cx="6319297" cy="4069715"/>
            <a:chOff x="2535820" y="2403126"/>
            <a:chExt cx="6319297" cy="4069715"/>
          </a:xfrm>
        </p:grpSpPr>
        <p:sp>
          <p:nvSpPr>
            <p:cNvPr id="12" name="object 12"/>
            <p:cNvSpPr/>
            <p:nvPr/>
          </p:nvSpPr>
          <p:spPr>
            <a:xfrm>
              <a:off x="4140942" y="2403126"/>
              <a:ext cx="2703830" cy="4069715"/>
            </a:xfrm>
            <a:custGeom>
              <a:avLst/>
              <a:gdLst/>
              <a:ahLst/>
              <a:cxnLst/>
              <a:rect l="l" t="t" r="r" b="b"/>
              <a:pathLst>
                <a:path w="2703829" h="4069715">
                  <a:moveTo>
                    <a:pt x="1179334" y="0"/>
                  </a:moveTo>
                  <a:lnTo>
                    <a:pt x="0" y="1179372"/>
                  </a:lnTo>
                  <a:lnTo>
                    <a:pt x="846429" y="2025776"/>
                  </a:lnTo>
                  <a:lnTo>
                    <a:pt x="89509" y="2887649"/>
                  </a:lnTo>
                  <a:lnTo>
                    <a:pt x="1271308" y="4069448"/>
                  </a:lnTo>
                  <a:lnTo>
                    <a:pt x="2417838" y="2763862"/>
                  </a:lnTo>
                  <a:lnTo>
                    <a:pt x="2449341" y="2726436"/>
                  </a:lnTo>
                  <a:lnTo>
                    <a:pt x="2478995" y="2688029"/>
                  </a:lnTo>
                  <a:lnTo>
                    <a:pt x="2506802" y="2648701"/>
                  </a:lnTo>
                  <a:lnTo>
                    <a:pt x="2532764" y="2608512"/>
                  </a:lnTo>
                  <a:lnTo>
                    <a:pt x="2556882" y="2567521"/>
                  </a:lnTo>
                  <a:lnTo>
                    <a:pt x="2579159" y="2525788"/>
                  </a:lnTo>
                  <a:lnTo>
                    <a:pt x="2599597" y="2483370"/>
                  </a:lnTo>
                  <a:lnTo>
                    <a:pt x="2618197" y="2440329"/>
                  </a:lnTo>
                  <a:lnTo>
                    <a:pt x="2634961" y="2396724"/>
                  </a:lnTo>
                  <a:lnTo>
                    <a:pt x="2649891" y="2352613"/>
                  </a:lnTo>
                  <a:lnTo>
                    <a:pt x="2662990" y="2308056"/>
                  </a:lnTo>
                  <a:lnTo>
                    <a:pt x="2674259" y="2263112"/>
                  </a:lnTo>
                  <a:lnTo>
                    <a:pt x="2683699" y="2217841"/>
                  </a:lnTo>
                  <a:lnTo>
                    <a:pt x="2691314" y="2172303"/>
                  </a:lnTo>
                  <a:lnTo>
                    <a:pt x="2697104" y="2126555"/>
                  </a:lnTo>
                  <a:lnTo>
                    <a:pt x="2701072" y="2080659"/>
                  </a:lnTo>
                  <a:lnTo>
                    <a:pt x="2703220" y="2034673"/>
                  </a:lnTo>
                  <a:lnTo>
                    <a:pt x="2703549" y="1988656"/>
                  </a:lnTo>
                  <a:lnTo>
                    <a:pt x="2702062" y="1942668"/>
                  </a:lnTo>
                  <a:lnTo>
                    <a:pt x="2698760" y="1896769"/>
                  </a:lnTo>
                  <a:lnTo>
                    <a:pt x="2693645" y="1851016"/>
                  </a:lnTo>
                  <a:lnTo>
                    <a:pt x="2686720" y="1805471"/>
                  </a:lnTo>
                  <a:lnTo>
                    <a:pt x="2677985" y="1760193"/>
                  </a:lnTo>
                  <a:lnTo>
                    <a:pt x="2667444" y="1715239"/>
                  </a:lnTo>
                  <a:lnTo>
                    <a:pt x="2655097" y="1670671"/>
                  </a:lnTo>
                  <a:lnTo>
                    <a:pt x="2640947" y="1626548"/>
                  </a:lnTo>
                  <a:lnTo>
                    <a:pt x="2624996" y="1582927"/>
                  </a:lnTo>
                  <a:lnTo>
                    <a:pt x="2607246" y="1539870"/>
                  </a:lnTo>
                  <a:lnTo>
                    <a:pt x="2587698" y="1497436"/>
                  </a:lnTo>
                  <a:lnTo>
                    <a:pt x="2566354" y="1455683"/>
                  </a:lnTo>
                  <a:lnTo>
                    <a:pt x="2543217" y="1414671"/>
                  </a:lnTo>
                  <a:lnTo>
                    <a:pt x="2518288" y="1374460"/>
                  </a:lnTo>
                  <a:lnTo>
                    <a:pt x="2491570" y="1335108"/>
                  </a:lnTo>
                  <a:lnTo>
                    <a:pt x="2463063" y="1296676"/>
                  </a:lnTo>
                  <a:lnTo>
                    <a:pt x="2432770" y="1259222"/>
                  </a:lnTo>
                  <a:lnTo>
                    <a:pt x="2400694" y="1222806"/>
                  </a:lnTo>
                  <a:lnTo>
                    <a:pt x="2366835" y="1187488"/>
                  </a:lnTo>
                  <a:lnTo>
                    <a:pt x="1179334" y="0"/>
                  </a:lnTo>
                  <a:close/>
                </a:path>
              </a:pathLst>
            </a:custGeom>
            <a:solidFill>
              <a:srgbClr val="2C317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2535820" y="4011942"/>
              <a:ext cx="6319297" cy="852169"/>
            </a:xfrm>
            <a:custGeom>
              <a:avLst/>
              <a:gdLst/>
              <a:ahLst/>
              <a:cxnLst/>
              <a:rect l="l" t="t" r="r" b="b"/>
              <a:pathLst>
                <a:path w="5914390" h="852170">
                  <a:moveTo>
                    <a:pt x="5913882" y="0"/>
                  </a:moveTo>
                  <a:lnTo>
                    <a:pt x="0" y="0"/>
                  </a:lnTo>
                  <a:lnTo>
                    <a:pt x="0" y="851827"/>
                  </a:lnTo>
                  <a:lnTo>
                    <a:pt x="5913882" y="851827"/>
                  </a:lnTo>
                  <a:lnTo>
                    <a:pt x="5913882" y="0"/>
                  </a:lnTo>
                  <a:close/>
                </a:path>
              </a:pathLst>
            </a:custGeom>
            <a:solidFill>
              <a:srgbClr val="FCCD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2584732" y="4211960"/>
            <a:ext cx="6266723" cy="38407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5080" algn="ctr">
              <a:spcBef>
                <a:spcPts val="100"/>
              </a:spcBef>
            </a:pPr>
            <a:r>
              <a:rPr lang="fr-FR" sz="2400" b="1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Vision synthétique de la feuille de route</a:t>
            </a:r>
            <a:endParaRPr lang="fr-FR" sz="2400">
              <a:solidFill>
                <a:srgbClr val="2C3176"/>
              </a:solidFill>
              <a:latin typeface="Marianne" charset="0"/>
              <a:ea typeface="Marianne" charset="0"/>
              <a:cs typeface="Marianne" charset="0"/>
            </a:endParaRPr>
          </a:p>
        </p:txBody>
      </p:sp>
      <p:pic>
        <p:nvPicPr>
          <p:cNvPr id="18" name="Imag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200" y="6779035"/>
            <a:ext cx="1277112" cy="1676400"/>
          </a:xfrm>
          <a:prstGeom prst="rect">
            <a:avLst/>
          </a:prstGeom>
        </p:spPr>
      </p:pic>
      <p:sp>
        <p:nvSpPr>
          <p:cNvPr id="15" name="object 15"/>
          <p:cNvSpPr/>
          <p:nvPr/>
        </p:nvSpPr>
        <p:spPr>
          <a:xfrm>
            <a:off x="14710316" y="609837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69" h="729615">
                <a:moveTo>
                  <a:pt x="435330" y="0"/>
                </a:moveTo>
                <a:lnTo>
                  <a:pt x="0" y="0"/>
                </a:lnTo>
                <a:lnTo>
                  <a:pt x="0" y="432346"/>
                </a:lnTo>
                <a:lnTo>
                  <a:pt x="310299" y="432346"/>
                </a:lnTo>
                <a:lnTo>
                  <a:pt x="329539" y="729068"/>
                </a:lnTo>
                <a:lnTo>
                  <a:pt x="762787" y="729068"/>
                </a:lnTo>
                <a:lnTo>
                  <a:pt x="733640" y="279615"/>
                </a:lnTo>
                <a:lnTo>
                  <a:pt x="727061" y="233685"/>
                </a:lnTo>
                <a:lnTo>
                  <a:pt x="713799" y="190326"/>
                </a:lnTo>
                <a:lnTo>
                  <a:pt x="694421" y="150072"/>
                </a:lnTo>
                <a:lnTo>
                  <a:pt x="669498" y="113456"/>
                </a:lnTo>
                <a:lnTo>
                  <a:pt x="639597" y="81010"/>
                </a:lnTo>
                <a:lnTo>
                  <a:pt x="605287" y="53268"/>
                </a:lnTo>
                <a:lnTo>
                  <a:pt x="567137" y="30762"/>
                </a:lnTo>
                <a:lnTo>
                  <a:pt x="525715" y="14027"/>
                </a:lnTo>
                <a:lnTo>
                  <a:pt x="481590" y="3595"/>
                </a:lnTo>
                <a:lnTo>
                  <a:pt x="435330" y="0"/>
                </a:lnTo>
                <a:close/>
              </a:path>
            </a:pathLst>
          </a:custGeom>
          <a:solidFill>
            <a:srgbClr val="FCCD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9015671" y="7816955"/>
            <a:ext cx="763270" cy="729615"/>
          </a:xfrm>
          <a:custGeom>
            <a:avLst/>
            <a:gdLst/>
            <a:ahLst/>
            <a:cxnLst/>
            <a:rect l="l" t="t" r="r" b="b"/>
            <a:pathLst>
              <a:path w="763270" h="729615">
                <a:moveTo>
                  <a:pt x="433247" y="0"/>
                </a:moveTo>
                <a:lnTo>
                  <a:pt x="0" y="0"/>
                </a:lnTo>
                <a:lnTo>
                  <a:pt x="29159" y="449453"/>
                </a:lnTo>
                <a:lnTo>
                  <a:pt x="35738" y="495383"/>
                </a:lnTo>
                <a:lnTo>
                  <a:pt x="49000" y="538742"/>
                </a:lnTo>
                <a:lnTo>
                  <a:pt x="68377" y="578996"/>
                </a:lnTo>
                <a:lnTo>
                  <a:pt x="93300" y="615612"/>
                </a:lnTo>
                <a:lnTo>
                  <a:pt x="123201" y="648058"/>
                </a:lnTo>
                <a:lnTo>
                  <a:pt x="157509" y="675800"/>
                </a:lnTo>
                <a:lnTo>
                  <a:pt x="195658" y="698305"/>
                </a:lnTo>
                <a:lnTo>
                  <a:pt x="237078" y="715041"/>
                </a:lnTo>
                <a:lnTo>
                  <a:pt x="281200" y="725473"/>
                </a:lnTo>
                <a:lnTo>
                  <a:pt x="327456" y="729068"/>
                </a:lnTo>
                <a:lnTo>
                  <a:pt x="762812" y="729068"/>
                </a:lnTo>
                <a:lnTo>
                  <a:pt x="762812" y="296722"/>
                </a:lnTo>
                <a:lnTo>
                  <a:pt x="452488" y="296722"/>
                </a:lnTo>
                <a:lnTo>
                  <a:pt x="433247" y="0"/>
                </a:lnTo>
                <a:close/>
              </a:path>
            </a:pathLst>
          </a:custGeom>
          <a:solidFill>
            <a:srgbClr val="06806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E37E82D1-EFE2-49F0-9765-0FD2A5819243}"/>
              </a:ext>
            </a:extLst>
          </p:cNvPr>
          <p:cNvSpPr txBox="1">
            <a:spLocks/>
          </p:cNvSpPr>
          <p:nvPr/>
        </p:nvSpPr>
        <p:spPr>
          <a:xfrm>
            <a:off x="1000795" y="2976937"/>
            <a:ext cx="2391405" cy="213840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>
            <a:lvl1pPr>
              <a:defRPr sz="18700" b="1" i="0">
                <a:solidFill>
                  <a:srgbClr val="FCCD00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3800" kern="0">
                <a:solidFill>
                  <a:srgbClr val="274084"/>
                </a:solidFill>
                <a:latin typeface="Marianne ExtraBold" charset="0"/>
                <a:ea typeface="Marianne ExtraBold" charset="0"/>
                <a:cs typeface="Marianne ExtraBold" charset="0"/>
              </a:rPr>
              <a:t>1.</a:t>
            </a:r>
            <a:endParaRPr kumimoji="0" lang="fr-FR" sz="13800" b="1" i="0" u="none" strike="noStrike" kern="0" cap="none" spc="0" normalizeH="0" baseline="0" noProof="0">
              <a:ln>
                <a:noFill/>
              </a:ln>
              <a:solidFill>
                <a:srgbClr val="274084"/>
              </a:solidFill>
              <a:effectLst/>
              <a:uLnTx/>
              <a:uFillTx/>
              <a:latin typeface="Marianne ExtraBold" charset="0"/>
              <a:ea typeface="Marianne ExtraBold" charset="0"/>
              <a:cs typeface="Marianne ExtraBold" charset="0"/>
            </a:endParaRP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1764D572-712C-4CEC-8320-F569279725A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3037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ZoneTexte 19"/>
          <p:cNvSpPr txBox="1"/>
          <p:nvPr/>
        </p:nvSpPr>
        <p:spPr>
          <a:xfrm>
            <a:off x="-2101516" y="-144379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fr-FR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89DC09C-13F3-42E8-A156-01142FFB5E3E}"/>
              </a:ext>
            </a:extLst>
          </p:cNvPr>
          <p:cNvGraphicFramePr>
            <a:graphicFrameLocks noGrp="1"/>
          </p:cNvGraphicFramePr>
          <p:nvPr/>
        </p:nvGraphicFramePr>
        <p:xfrm>
          <a:off x="1663500" y="1835287"/>
          <a:ext cx="12873212" cy="61360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28083">
                  <a:extLst>
                    <a:ext uri="{9D8B030D-6E8A-4147-A177-3AD203B41FA5}">
                      <a16:colId xmlns:a16="http://schemas.microsoft.com/office/drawing/2014/main" val="3980143221"/>
                    </a:ext>
                  </a:extLst>
                </a:gridCol>
                <a:gridCol w="8845129">
                  <a:extLst>
                    <a:ext uri="{9D8B030D-6E8A-4147-A177-3AD203B41FA5}">
                      <a16:colId xmlns:a16="http://schemas.microsoft.com/office/drawing/2014/main" val="3623393044"/>
                    </a:ext>
                  </a:extLst>
                </a:gridCol>
              </a:tblGrid>
              <a:tr h="363590">
                <a:tc>
                  <a:txBody>
                    <a:bodyPr/>
                    <a:lstStyle/>
                    <a:p>
                      <a:pPr algn="ctr" fontAlgn="t"/>
                      <a:r>
                        <a:rPr lang="en-GB" sz="1900" b="1" u="none" strike="noStrike">
                          <a:solidFill>
                            <a:schemeClr val="bg1"/>
                          </a:solidFill>
                          <a:effectLst/>
                          <a:latin typeface="Marianne" panose="020B0604020202020204"/>
                        </a:rPr>
                        <a:t>Dimension</a:t>
                      </a:r>
                      <a:endParaRPr lang="en-GB" sz="1900" b="1" i="0" u="none" strike="noStrike">
                        <a:solidFill>
                          <a:schemeClr val="bg1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1412" marR="1412" marT="1412" marB="0" anchor="ctr"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900" b="1" u="none" strike="noStrike">
                          <a:solidFill>
                            <a:schemeClr val="bg1"/>
                          </a:solidFill>
                          <a:effectLst/>
                          <a:latin typeface="Marianne" panose="020B0604020202020204"/>
                        </a:rPr>
                        <a:t>Levier</a:t>
                      </a:r>
                      <a:endParaRPr lang="en-GB" sz="1900" b="1" i="0" u="none" strike="noStrike">
                        <a:solidFill>
                          <a:schemeClr val="bg1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1412" marR="1412" marT="1412" marB="0" anchor="ctr">
                    <a:solidFill>
                      <a:srgbClr val="2C31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4612113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900" u="none" strike="noStrike" dirty="0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1. </a:t>
                      </a:r>
                      <a:r>
                        <a:rPr lang="en-GB" sz="1900" u="none" strike="noStrike" dirty="0" err="1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Stratégie</a:t>
                      </a:r>
                      <a:r>
                        <a:rPr lang="en-GB" sz="1900" u="none" strike="noStrike" dirty="0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 et </a:t>
                      </a:r>
                      <a:r>
                        <a:rPr lang="en-GB" sz="1900" u="none" strike="noStrike" dirty="0" err="1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Gouvernance</a:t>
                      </a:r>
                      <a:endParaRPr lang="en-GB" sz="1900" b="0" i="0" u="none" strike="noStrike" dirty="0">
                        <a:solidFill>
                          <a:srgbClr val="FFFFFF"/>
                        </a:solidFill>
                        <a:effectLst/>
                        <a:highlight>
                          <a:srgbClr val="FFFF00"/>
                        </a:highlight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900" u="none" strike="noStrike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Mettre en place et suivre des indicateurs de pilotage</a:t>
                      </a:r>
                      <a:endParaRPr lang="fr-FR" sz="19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9093906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r>
                        <a:rPr lang="en-GB" sz="1900" u="none" strike="noStrike"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x</a:t>
                      </a:r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highlight>
                          <a:srgbClr val="FFFF00"/>
                        </a:highlight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19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Marianne" panose="020B0604020202020204"/>
                        </a:rPr>
                        <a:t>x</a:t>
                      </a: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6949033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 dirty="0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794586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6660682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8912431"/>
                  </a:ext>
                </a:extLst>
              </a:tr>
              <a:tr h="477942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3376018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7643044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2597668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6612497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886349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2122643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4930775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5244446"/>
                  </a:ext>
                </a:extLst>
              </a:tr>
              <a:tr h="370504">
                <a:tc>
                  <a:txBody>
                    <a:bodyPr/>
                    <a:lstStyle/>
                    <a:p>
                      <a:pPr algn="l" fontAlgn="ctr"/>
                      <a:endParaRPr lang="en-GB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/>
                </a:tc>
                <a:extLst>
                  <a:ext uri="{0D108BD9-81ED-4DB2-BD59-A6C34878D82A}">
                    <a16:rowId xmlns:a16="http://schemas.microsoft.com/office/drawing/2014/main" val="808068295"/>
                  </a:ext>
                </a:extLst>
              </a:tr>
              <a:tr h="477942"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>
                        <a:solidFill>
                          <a:srgbClr val="FFFFFF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fr-FR" sz="1900" b="0" i="0" u="none" strike="noStrike" dirty="0">
                        <a:solidFill>
                          <a:srgbClr val="000000"/>
                        </a:solidFill>
                        <a:effectLst/>
                        <a:latin typeface="Marianne" panose="020B0604020202020204"/>
                      </a:endParaRPr>
                    </a:p>
                  </a:txBody>
                  <a:tcPr marL="72000" marR="72000" marT="0" marB="0" anchor="ctr"/>
                </a:tc>
                <a:extLst>
                  <a:ext uri="{0D108BD9-81ED-4DB2-BD59-A6C34878D82A}">
                    <a16:rowId xmlns:a16="http://schemas.microsoft.com/office/drawing/2014/main" val="1769866542"/>
                  </a:ext>
                </a:extLst>
              </a:tr>
            </a:tbl>
          </a:graphicData>
        </a:graphic>
      </p:graphicFrame>
      <p:pic>
        <p:nvPicPr>
          <p:cNvPr id="8" name="Picture 2" descr="Pencil ">
            <a:extLst>
              <a:ext uri="{FF2B5EF4-FFF2-40B4-BE49-F238E27FC236}">
                <a16:creationId xmlns:a16="http://schemas.microsoft.com/office/drawing/2014/main" id="{FB77C870-F554-4D56-A143-3F95E05C1D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740" y="1867831"/>
            <a:ext cx="503244" cy="503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B7C4828-B736-4419-A3AC-D363A3B711A4}"/>
              </a:ext>
            </a:extLst>
          </p:cNvPr>
          <p:cNvSpPr txBox="1">
            <a:spLocks/>
          </p:cNvSpPr>
          <p:nvPr/>
        </p:nvSpPr>
        <p:spPr>
          <a:xfrm>
            <a:off x="2926605" y="8154855"/>
            <a:ext cx="11679135" cy="501703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3600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latin typeface="Marianne" panose="020B0604020202020204"/>
              </a:rPr>
              <a:t>Insérer ici la liste des leviers sélectionnés par la collectivité et traités lors des ateliers fiches actions en les classant par dimension</a:t>
            </a:r>
          </a:p>
          <a:p>
            <a:pPr algn="ctr"/>
            <a:endParaRPr lang="fr-FR" sz="1400" b="1" i="1" dirty="0">
              <a:latin typeface="Marianne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D01AC4-01ED-DCFF-9275-0E92A42525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517" y="471574"/>
            <a:ext cx="14254967" cy="615553"/>
          </a:xfrm>
        </p:spPr>
        <p:txBody>
          <a:bodyPr/>
          <a:lstStyle/>
          <a:p>
            <a:r>
              <a:rPr lang="fr-FR" sz="4000" dirty="0"/>
              <a:t>Liste des </a:t>
            </a:r>
            <a:r>
              <a:rPr lang="fr-FR" sz="4000" dirty="0">
                <a:highlight>
                  <a:srgbClr val="FFFF00"/>
                </a:highlight>
              </a:rPr>
              <a:t>X</a:t>
            </a:r>
            <a:r>
              <a:rPr lang="fr-FR" sz="4000" dirty="0"/>
              <a:t> leviers priorisés</a:t>
            </a:r>
          </a:p>
        </p:txBody>
      </p:sp>
    </p:spTree>
    <p:extLst>
      <p:ext uri="{BB962C8B-B14F-4D97-AF65-F5344CB8AC3E}">
        <p14:creationId xmlns:p14="http://schemas.microsoft.com/office/powerpoint/2010/main" val="20340426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object 14">
            <a:extLst>
              <a:ext uri="{FF2B5EF4-FFF2-40B4-BE49-F238E27FC236}">
                <a16:creationId xmlns:a16="http://schemas.microsoft.com/office/drawing/2014/main" id="{E80AA2CA-2C12-4D51-81DB-CC7EBA862E8E}"/>
              </a:ext>
            </a:extLst>
          </p:cNvPr>
          <p:cNvSpPr txBox="1">
            <a:spLocks/>
          </p:cNvSpPr>
          <p:nvPr/>
        </p:nvSpPr>
        <p:spPr>
          <a:xfrm>
            <a:off x="1921710" y="283658"/>
            <a:ext cx="1261383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fr-FR"/>
            </a:defPPr>
            <a:lvl1pPr algn="ctr">
              <a:defRPr sz="4000" b="1" i="0">
                <a:solidFill>
                  <a:srgbClr val="2C3176"/>
                </a:solidFill>
                <a:latin typeface="Marianne" panose="020B0604020202020204" charset="0"/>
                <a:ea typeface="+mj-ea"/>
                <a:cs typeface="Arial"/>
              </a:defRPr>
            </a:lvl1pPr>
          </a:lstStyle>
          <a:p>
            <a:r>
              <a:rPr lang="fr-FR" dirty="0"/>
              <a:t>Feuille de route – Leviers par dimension</a:t>
            </a:r>
          </a:p>
        </p:txBody>
      </p:sp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4B06A019-DB5B-4371-A5C6-D8BB003D0FB5}"/>
              </a:ext>
            </a:extLst>
          </p:cNvPr>
          <p:cNvGraphicFramePr>
            <a:graphicFrameLocks noGrp="1"/>
          </p:cNvGraphicFramePr>
          <p:nvPr/>
        </p:nvGraphicFramePr>
        <p:xfrm>
          <a:off x="1575272" y="971600"/>
          <a:ext cx="14473608" cy="8064896"/>
        </p:xfrm>
        <a:graphic>
          <a:graphicData uri="http://schemas.openxmlformats.org/drawingml/2006/table">
            <a:tbl>
              <a:tblPr/>
              <a:tblGrid>
                <a:gridCol w="24122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12268">
                  <a:extLst>
                    <a:ext uri="{9D8B030D-6E8A-4147-A177-3AD203B41FA5}">
                      <a16:colId xmlns:a16="http://schemas.microsoft.com/office/drawing/2014/main" val="3321849472"/>
                    </a:ext>
                  </a:extLst>
                </a:gridCol>
                <a:gridCol w="2412268">
                  <a:extLst>
                    <a:ext uri="{9D8B030D-6E8A-4147-A177-3AD203B41FA5}">
                      <a16:colId xmlns:a16="http://schemas.microsoft.com/office/drawing/2014/main" val="1849988725"/>
                    </a:ext>
                  </a:extLst>
                </a:gridCol>
                <a:gridCol w="2412268">
                  <a:extLst>
                    <a:ext uri="{9D8B030D-6E8A-4147-A177-3AD203B41FA5}">
                      <a16:colId xmlns:a16="http://schemas.microsoft.com/office/drawing/2014/main" val="1809668003"/>
                    </a:ext>
                  </a:extLst>
                </a:gridCol>
                <a:gridCol w="24122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41226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43385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3</a:t>
                      </a: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2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4</a:t>
                      </a: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4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5</a:t>
                      </a: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err="1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Mois</a:t>
                      </a: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6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195189"/>
                  </a:ext>
                </a:extLst>
              </a:tr>
              <a:tr h="408264">
                <a:tc>
                  <a:txBody>
                    <a:bodyPr/>
                    <a:lstStyle/>
                    <a:p>
                      <a:pPr algn="ctr"/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1</a:t>
                      </a:r>
                    </a:p>
                  </a:txBody>
                  <a:tcPr marL="9191" marR="9191" marT="8225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2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1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2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1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>
                          <a:solidFill>
                            <a:schemeClr val="bg1"/>
                          </a:solidFill>
                          <a:latin typeface="Marianne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2</a:t>
                      </a:r>
                    </a:p>
                  </a:txBody>
                  <a:tcPr marL="9191" marR="9191" marT="8225" marB="0" anchor="ctr" horzOverflow="overflow">
                    <a:lnL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C31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3083324"/>
                  </a:ext>
                </a:extLst>
              </a:tr>
              <a:tr h="7313247">
                <a:tc>
                  <a:txBody>
                    <a:bodyPr/>
                    <a:lstStyle/>
                    <a:p>
                      <a:pPr algn="ctr"/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noProof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noProof="0" dirty="0">
                        <a:solidFill>
                          <a:schemeClr val="bg1"/>
                        </a:solidFill>
                        <a:latin typeface="Marianne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191" marR="9191" marT="8225" marB="0" anchor="ctr" horzOverflow="overflow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631536"/>
                  </a:ext>
                </a:extLst>
              </a:tr>
            </a:tbl>
          </a:graphicData>
        </a:graphic>
      </p:graphicFrame>
      <p:sp>
        <p:nvSpPr>
          <p:cNvPr id="2" name="Arrow: Pentagon 1">
            <a:extLst>
              <a:ext uri="{FF2B5EF4-FFF2-40B4-BE49-F238E27FC236}">
                <a16:creationId xmlns:a16="http://schemas.microsoft.com/office/drawing/2014/main" id="{0BB9057D-0B76-4A2C-8BE3-1F04F4416B48}"/>
              </a:ext>
            </a:extLst>
          </p:cNvPr>
          <p:cNvSpPr/>
          <p:nvPr/>
        </p:nvSpPr>
        <p:spPr>
          <a:xfrm>
            <a:off x="1647280" y="1787701"/>
            <a:ext cx="5213696" cy="198000"/>
          </a:xfrm>
          <a:prstGeom prst="homePlate">
            <a:avLst/>
          </a:prstGeom>
          <a:solidFill>
            <a:srgbClr val="65D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Ex. : Mettre en place et suivre des indicateurs de pilotag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715CDCC-4A78-4156-AB8B-817683897B74}"/>
              </a:ext>
            </a:extLst>
          </p:cNvPr>
          <p:cNvSpPr/>
          <p:nvPr/>
        </p:nvSpPr>
        <p:spPr>
          <a:xfrm>
            <a:off x="105053" y="1755837"/>
            <a:ext cx="1334878" cy="89853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bg1"/>
                </a:solidFill>
                <a:latin typeface="Marianne" panose="020B0604020202020204"/>
              </a:rPr>
              <a:t>Stratégie et Gouvernanc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D74AC8F-CC63-4B61-AC61-2AABF85C8A0E}"/>
              </a:ext>
            </a:extLst>
          </p:cNvPr>
          <p:cNvSpPr/>
          <p:nvPr/>
        </p:nvSpPr>
        <p:spPr>
          <a:xfrm>
            <a:off x="105053" y="2792276"/>
            <a:ext cx="1334878" cy="898535"/>
          </a:xfrm>
          <a:prstGeom prst="rect">
            <a:avLst/>
          </a:prstGeom>
          <a:solidFill>
            <a:srgbClr val="ED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Mesur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2BA4178-DF16-4F00-B000-305D1063EFB4}"/>
              </a:ext>
            </a:extLst>
          </p:cNvPr>
          <p:cNvSpPr/>
          <p:nvPr/>
        </p:nvSpPr>
        <p:spPr>
          <a:xfrm>
            <a:off x="105053" y="3828715"/>
            <a:ext cx="1334878" cy="898535"/>
          </a:xfrm>
          <a:prstGeom prst="rect">
            <a:avLst/>
          </a:prstGeom>
          <a:solidFill>
            <a:srgbClr val="24BB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Achat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D26ED0F-CC3E-42E6-852E-0F164F843C77}"/>
              </a:ext>
            </a:extLst>
          </p:cNvPr>
          <p:cNvSpPr/>
          <p:nvPr/>
        </p:nvSpPr>
        <p:spPr>
          <a:xfrm>
            <a:off x="105053" y="4865154"/>
            <a:ext cx="1334878" cy="89853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Transformation </a:t>
            </a:r>
          </a:p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de l’I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4670425-EFAA-4443-BF10-4DE6FB7BAFE7}"/>
              </a:ext>
            </a:extLst>
          </p:cNvPr>
          <p:cNvSpPr/>
          <p:nvPr/>
        </p:nvSpPr>
        <p:spPr>
          <a:xfrm>
            <a:off x="105053" y="5901593"/>
            <a:ext cx="1334878" cy="898535"/>
          </a:xfrm>
          <a:prstGeom prst="rect">
            <a:avLst/>
          </a:prstGeom>
          <a:solidFill>
            <a:srgbClr val="98480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DEEE et économie circulair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B33FCA1-E04E-41BC-915B-2E5C2A3FBFB8}"/>
              </a:ext>
            </a:extLst>
          </p:cNvPr>
          <p:cNvSpPr/>
          <p:nvPr/>
        </p:nvSpPr>
        <p:spPr>
          <a:xfrm>
            <a:off x="105053" y="6938032"/>
            <a:ext cx="1334878" cy="898535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Sensibilisation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05D74F3-8DF5-49EF-A889-8B57EE0B0E16}"/>
              </a:ext>
            </a:extLst>
          </p:cNvPr>
          <p:cNvSpPr/>
          <p:nvPr/>
        </p:nvSpPr>
        <p:spPr>
          <a:xfrm>
            <a:off x="105053" y="7974469"/>
            <a:ext cx="1334878" cy="898535"/>
          </a:xfrm>
          <a:prstGeom prst="rect">
            <a:avLst/>
          </a:prstGeom>
          <a:solidFill>
            <a:srgbClr val="3185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IT pour une </a:t>
            </a:r>
          </a:p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Collectivité </a:t>
            </a:r>
          </a:p>
          <a:p>
            <a:pPr algn="ctr"/>
            <a:r>
              <a:rPr lang="fr-FR" sz="1400" b="1">
                <a:solidFill>
                  <a:schemeClr val="bg1"/>
                </a:solidFill>
                <a:latin typeface="Marianne" panose="020B0604020202020204"/>
              </a:rPr>
              <a:t>Eco-responsable</a:t>
            </a:r>
          </a:p>
        </p:txBody>
      </p:sp>
      <p:sp>
        <p:nvSpPr>
          <p:cNvPr id="32" name="Arrow: Pentagon 31">
            <a:extLst>
              <a:ext uri="{FF2B5EF4-FFF2-40B4-BE49-F238E27FC236}">
                <a16:creationId xmlns:a16="http://schemas.microsoft.com/office/drawing/2014/main" id="{2EF71956-5907-4B38-A816-6F2B847A784D}"/>
              </a:ext>
            </a:extLst>
          </p:cNvPr>
          <p:cNvSpPr/>
          <p:nvPr/>
        </p:nvSpPr>
        <p:spPr>
          <a:xfrm>
            <a:off x="4023544" y="2125031"/>
            <a:ext cx="6048672" cy="198000"/>
          </a:xfrm>
          <a:prstGeom prst="homePlate">
            <a:avLst/>
          </a:prstGeom>
          <a:solidFill>
            <a:srgbClr val="65D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2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33" name="Arrow: Pentagon 32">
            <a:extLst>
              <a:ext uri="{FF2B5EF4-FFF2-40B4-BE49-F238E27FC236}">
                <a16:creationId xmlns:a16="http://schemas.microsoft.com/office/drawing/2014/main" id="{44064BCA-6AE9-4E0F-8CBC-3DC74518C69C}"/>
              </a:ext>
            </a:extLst>
          </p:cNvPr>
          <p:cNvSpPr/>
          <p:nvPr/>
        </p:nvSpPr>
        <p:spPr>
          <a:xfrm>
            <a:off x="1647280" y="2462361"/>
            <a:ext cx="9577064" cy="198000"/>
          </a:xfrm>
          <a:prstGeom prst="homePlate">
            <a:avLst/>
          </a:prstGeom>
          <a:solidFill>
            <a:srgbClr val="65D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3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pic>
        <p:nvPicPr>
          <p:cNvPr id="34" name="Picture 2" descr="Pencil ">
            <a:extLst>
              <a:ext uri="{FF2B5EF4-FFF2-40B4-BE49-F238E27FC236}">
                <a16:creationId xmlns:a16="http://schemas.microsoft.com/office/drawing/2014/main" id="{55019DB8-85CC-4E40-AC40-B60F8EE95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7800" y="1488652"/>
            <a:ext cx="418671" cy="41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Arrow: Pentagon 34">
            <a:extLst>
              <a:ext uri="{FF2B5EF4-FFF2-40B4-BE49-F238E27FC236}">
                <a16:creationId xmlns:a16="http://schemas.microsoft.com/office/drawing/2014/main" id="{398CE281-0388-474A-B547-7428D0029550}"/>
              </a:ext>
            </a:extLst>
          </p:cNvPr>
          <p:cNvSpPr/>
          <p:nvPr/>
        </p:nvSpPr>
        <p:spPr>
          <a:xfrm>
            <a:off x="1647280" y="2788421"/>
            <a:ext cx="2376264" cy="197247"/>
          </a:xfrm>
          <a:prstGeom prst="homePlate">
            <a:avLst/>
          </a:prstGeom>
          <a:solidFill>
            <a:srgbClr val="F3A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4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38" name="Arrow: Pentagon 37">
            <a:extLst>
              <a:ext uri="{FF2B5EF4-FFF2-40B4-BE49-F238E27FC236}">
                <a16:creationId xmlns:a16="http://schemas.microsoft.com/office/drawing/2014/main" id="{309B2328-69E1-4F37-91F2-A41E841374C8}"/>
              </a:ext>
            </a:extLst>
          </p:cNvPr>
          <p:cNvSpPr/>
          <p:nvPr/>
        </p:nvSpPr>
        <p:spPr>
          <a:xfrm>
            <a:off x="4023544" y="3871565"/>
            <a:ext cx="5213696" cy="198000"/>
          </a:xfrm>
          <a:prstGeom prst="homePlate">
            <a:avLst/>
          </a:prstGeom>
          <a:solidFill>
            <a:srgbClr val="57DF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8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0" name="Arrow: Pentagon 39">
            <a:extLst>
              <a:ext uri="{FF2B5EF4-FFF2-40B4-BE49-F238E27FC236}">
                <a16:creationId xmlns:a16="http://schemas.microsoft.com/office/drawing/2014/main" id="{E23EE9C1-997D-4248-A502-0BF3C7872A46}"/>
              </a:ext>
            </a:extLst>
          </p:cNvPr>
          <p:cNvSpPr/>
          <p:nvPr/>
        </p:nvSpPr>
        <p:spPr>
          <a:xfrm>
            <a:off x="8920088" y="4371373"/>
            <a:ext cx="7056784" cy="198000"/>
          </a:xfrm>
          <a:prstGeom prst="homePlate">
            <a:avLst/>
          </a:prstGeom>
          <a:solidFill>
            <a:srgbClr val="57DF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9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1" name="Arrow: Pentagon 40">
            <a:extLst>
              <a:ext uri="{FF2B5EF4-FFF2-40B4-BE49-F238E27FC236}">
                <a16:creationId xmlns:a16="http://schemas.microsoft.com/office/drawing/2014/main" id="{90FA7690-6A3B-4172-ABC2-AF48BFB23968}"/>
              </a:ext>
            </a:extLst>
          </p:cNvPr>
          <p:cNvSpPr/>
          <p:nvPr/>
        </p:nvSpPr>
        <p:spPr>
          <a:xfrm>
            <a:off x="1647280" y="3023469"/>
            <a:ext cx="2376264" cy="197247"/>
          </a:xfrm>
          <a:prstGeom prst="homePlate">
            <a:avLst/>
          </a:prstGeom>
          <a:solidFill>
            <a:srgbClr val="F3A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5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2" name="Arrow: Pentagon 41">
            <a:extLst>
              <a:ext uri="{FF2B5EF4-FFF2-40B4-BE49-F238E27FC236}">
                <a16:creationId xmlns:a16="http://schemas.microsoft.com/office/drawing/2014/main" id="{69E40983-89A5-43F7-82D3-75DCE68D1141}"/>
              </a:ext>
            </a:extLst>
          </p:cNvPr>
          <p:cNvSpPr/>
          <p:nvPr/>
        </p:nvSpPr>
        <p:spPr>
          <a:xfrm>
            <a:off x="5139668" y="3258517"/>
            <a:ext cx="3636404" cy="197247"/>
          </a:xfrm>
          <a:prstGeom prst="homePlate">
            <a:avLst/>
          </a:prstGeom>
          <a:solidFill>
            <a:srgbClr val="F3A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6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3" name="Arrow: Pentagon 42">
            <a:extLst>
              <a:ext uri="{FF2B5EF4-FFF2-40B4-BE49-F238E27FC236}">
                <a16:creationId xmlns:a16="http://schemas.microsoft.com/office/drawing/2014/main" id="{7DAEF9FD-C2DA-42B9-B795-66A2B1FD5A15}"/>
              </a:ext>
            </a:extLst>
          </p:cNvPr>
          <p:cNvSpPr/>
          <p:nvPr/>
        </p:nvSpPr>
        <p:spPr>
          <a:xfrm>
            <a:off x="1647280" y="3493564"/>
            <a:ext cx="4680520" cy="197247"/>
          </a:xfrm>
          <a:prstGeom prst="homePlate">
            <a:avLst/>
          </a:prstGeom>
          <a:solidFill>
            <a:srgbClr val="F3A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7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5" name="Arrow: Pentagon 44">
            <a:extLst>
              <a:ext uri="{FF2B5EF4-FFF2-40B4-BE49-F238E27FC236}">
                <a16:creationId xmlns:a16="http://schemas.microsoft.com/office/drawing/2014/main" id="{1DC5201D-056A-487B-9AF7-9D93FED20D6B}"/>
              </a:ext>
            </a:extLst>
          </p:cNvPr>
          <p:cNvSpPr/>
          <p:nvPr/>
        </p:nvSpPr>
        <p:spPr>
          <a:xfrm>
            <a:off x="1647280" y="5895261"/>
            <a:ext cx="4788532" cy="198000"/>
          </a:xfrm>
          <a:prstGeom prst="homePlate">
            <a:avLst/>
          </a:prstGeom>
          <a:solidFill>
            <a:srgbClr val="C35D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1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6" name="Arrow: Pentagon 45">
            <a:extLst>
              <a:ext uri="{FF2B5EF4-FFF2-40B4-BE49-F238E27FC236}">
                <a16:creationId xmlns:a16="http://schemas.microsoft.com/office/drawing/2014/main" id="{5CFA361D-82A8-4185-AF15-CC739CF1F208}"/>
              </a:ext>
            </a:extLst>
          </p:cNvPr>
          <p:cNvSpPr/>
          <p:nvPr/>
        </p:nvSpPr>
        <p:spPr>
          <a:xfrm>
            <a:off x="6434116" y="6398385"/>
            <a:ext cx="6048672" cy="198000"/>
          </a:xfrm>
          <a:prstGeom prst="homePlate">
            <a:avLst/>
          </a:prstGeom>
          <a:solidFill>
            <a:srgbClr val="C35D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2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8" name="Arrow: Pentagon 47">
            <a:extLst>
              <a:ext uri="{FF2B5EF4-FFF2-40B4-BE49-F238E27FC236}">
                <a16:creationId xmlns:a16="http://schemas.microsoft.com/office/drawing/2014/main" id="{94137830-D808-4D6B-93A7-182D584CC786}"/>
              </a:ext>
            </a:extLst>
          </p:cNvPr>
          <p:cNvSpPr/>
          <p:nvPr/>
        </p:nvSpPr>
        <p:spPr>
          <a:xfrm>
            <a:off x="1647280" y="7097066"/>
            <a:ext cx="5213696" cy="198000"/>
          </a:xfrm>
          <a:prstGeom prst="homePlate">
            <a:avLst/>
          </a:prstGeom>
          <a:solidFill>
            <a:srgbClr val="B17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3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49" name="Arrow: Pentagon 48">
            <a:extLst>
              <a:ext uri="{FF2B5EF4-FFF2-40B4-BE49-F238E27FC236}">
                <a16:creationId xmlns:a16="http://schemas.microsoft.com/office/drawing/2014/main" id="{E1917E70-C39F-4FAF-9F24-6F1A4F6AB11F}"/>
              </a:ext>
            </a:extLst>
          </p:cNvPr>
          <p:cNvSpPr/>
          <p:nvPr/>
        </p:nvSpPr>
        <p:spPr>
          <a:xfrm>
            <a:off x="4023544" y="7434396"/>
            <a:ext cx="6048672" cy="198000"/>
          </a:xfrm>
          <a:prstGeom prst="homePlate">
            <a:avLst/>
          </a:prstGeom>
          <a:solidFill>
            <a:srgbClr val="B17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4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53" name="Arrow: Pentagon 52">
            <a:extLst>
              <a:ext uri="{FF2B5EF4-FFF2-40B4-BE49-F238E27FC236}">
                <a16:creationId xmlns:a16="http://schemas.microsoft.com/office/drawing/2014/main" id="{2B0025AC-06EF-416A-AF91-2D0CD2C02E22}"/>
              </a:ext>
            </a:extLst>
          </p:cNvPr>
          <p:cNvSpPr/>
          <p:nvPr/>
        </p:nvSpPr>
        <p:spPr>
          <a:xfrm>
            <a:off x="4023544" y="8235446"/>
            <a:ext cx="7200800" cy="198000"/>
          </a:xfrm>
          <a:prstGeom prst="homePlate">
            <a:avLst/>
          </a:prstGeom>
          <a:solidFill>
            <a:srgbClr val="56B1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5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56" name="Arrow: Pentagon 55">
            <a:extLst>
              <a:ext uri="{FF2B5EF4-FFF2-40B4-BE49-F238E27FC236}">
                <a16:creationId xmlns:a16="http://schemas.microsoft.com/office/drawing/2014/main" id="{9A9C916B-C811-4318-8688-A1F8C2FA3365}"/>
              </a:ext>
            </a:extLst>
          </p:cNvPr>
          <p:cNvSpPr/>
          <p:nvPr/>
        </p:nvSpPr>
        <p:spPr>
          <a:xfrm>
            <a:off x="1647280" y="5186879"/>
            <a:ext cx="9577064" cy="198000"/>
          </a:xfrm>
          <a:prstGeom prst="homePlate">
            <a:avLst/>
          </a:prstGeom>
          <a:solidFill>
            <a:srgbClr val="FFE0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>
                <a:solidFill>
                  <a:schemeClr val="tx1"/>
                </a:solidFill>
                <a:highlight>
                  <a:srgbClr val="FFFF00"/>
                </a:highlight>
                <a:latin typeface="Marianne" panose="020B0604020202020204"/>
              </a:rPr>
              <a:t>Levier 10</a:t>
            </a:r>
            <a:endParaRPr lang="en-GB" sz="1400">
              <a:solidFill>
                <a:schemeClr val="tx1"/>
              </a:solidFill>
              <a:highlight>
                <a:srgbClr val="FFFF00"/>
              </a:highlight>
              <a:latin typeface="Marianne" panose="020B0604020202020204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86077CA-2A18-4FFD-9068-6DFA898D9B4A}"/>
              </a:ext>
            </a:extLst>
          </p:cNvPr>
          <p:cNvSpPr txBox="1">
            <a:spLocks/>
          </p:cNvSpPr>
          <p:nvPr/>
        </p:nvSpPr>
        <p:spPr>
          <a:xfrm>
            <a:off x="11872416" y="7092280"/>
            <a:ext cx="4095312" cy="1768062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dashDot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latin typeface="Marianne" panose="020B0604020202020204"/>
              </a:rPr>
              <a:t>Cette page permet d’obtenir une vision planning de la feuille de route, la forme et la temporalité sont à adapter selon les leviers sélectionnés pour améliorer la visibilité d’ensemble. Les actions déjà engagées par la collectivité peuvent également être présenté dans le planning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5DF66D1-B40E-49DE-E6B6-F916F04C4837}"/>
              </a:ext>
            </a:extLst>
          </p:cNvPr>
          <p:cNvSpPr txBox="1"/>
          <p:nvPr/>
        </p:nvSpPr>
        <p:spPr>
          <a:xfrm>
            <a:off x="6831856" y="1763688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4E65BC0-53B7-B12A-F693-BAEF70DDA132}"/>
              </a:ext>
            </a:extLst>
          </p:cNvPr>
          <p:cNvSpPr txBox="1"/>
          <p:nvPr/>
        </p:nvSpPr>
        <p:spPr>
          <a:xfrm>
            <a:off x="10034526" y="2093297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2A24B7-432F-09DB-264A-69B4635F6A0E}"/>
              </a:ext>
            </a:extLst>
          </p:cNvPr>
          <p:cNvSpPr txBox="1"/>
          <p:nvPr/>
        </p:nvSpPr>
        <p:spPr>
          <a:xfrm>
            <a:off x="11209276" y="2424460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121993-8450-CADE-F148-D2F0B5A7DE30}"/>
              </a:ext>
            </a:extLst>
          </p:cNvPr>
          <p:cNvSpPr txBox="1"/>
          <p:nvPr/>
        </p:nvSpPr>
        <p:spPr>
          <a:xfrm>
            <a:off x="3979801" y="2755032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F2FEC0-DFF4-8BB4-BCEC-3EDA2A8C78B1}"/>
              </a:ext>
            </a:extLst>
          </p:cNvPr>
          <p:cNvSpPr txBox="1"/>
          <p:nvPr/>
        </p:nvSpPr>
        <p:spPr>
          <a:xfrm>
            <a:off x="3979801" y="2987824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116720-43D1-DB87-E621-A247C96A638A}"/>
              </a:ext>
            </a:extLst>
          </p:cNvPr>
          <p:cNvSpPr txBox="1"/>
          <p:nvPr/>
        </p:nvSpPr>
        <p:spPr>
          <a:xfrm>
            <a:off x="8767316" y="3244999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81008D-367C-07E4-31FA-092895B2138C}"/>
              </a:ext>
            </a:extLst>
          </p:cNvPr>
          <p:cNvSpPr txBox="1"/>
          <p:nvPr/>
        </p:nvSpPr>
        <p:spPr>
          <a:xfrm>
            <a:off x="6309866" y="3463305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EBD178-16E1-B05E-4397-E8B89A54F3B4}"/>
              </a:ext>
            </a:extLst>
          </p:cNvPr>
          <p:cNvSpPr txBox="1"/>
          <p:nvPr/>
        </p:nvSpPr>
        <p:spPr>
          <a:xfrm>
            <a:off x="9197454" y="3825255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D9449FF-9D55-C141-6C58-D34DCF66E992}"/>
              </a:ext>
            </a:extLst>
          </p:cNvPr>
          <p:cNvSpPr txBox="1"/>
          <p:nvPr/>
        </p:nvSpPr>
        <p:spPr>
          <a:xfrm>
            <a:off x="14440321" y="4111005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B2B12C4-8D55-5EF9-AE82-2960548C95AA}"/>
              </a:ext>
            </a:extLst>
          </p:cNvPr>
          <p:cNvSpPr txBox="1"/>
          <p:nvPr/>
        </p:nvSpPr>
        <p:spPr>
          <a:xfrm>
            <a:off x="11171386" y="5157589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C01AF0A-4163-1C63-CD50-0EBD073EB7B9}"/>
              </a:ext>
            </a:extLst>
          </p:cNvPr>
          <p:cNvSpPr txBox="1"/>
          <p:nvPr/>
        </p:nvSpPr>
        <p:spPr>
          <a:xfrm>
            <a:off x="6418411" y="5871195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843B866-38EC-C14F-DE30-535891BDFCB4}"/>
              </a:ext>
            </a:extLst>
          </p:cNvPr>
          <p:cNvSpPr txBox="1"/>
          <p:nvPr/>
        </p:nvSpPr>
        <p:spPr>
          <a:xfrm>
            <a:off x="12448480" y="6372200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5BF625-F327-BF5F-BE49-A268AE6DF6FE}"/>
              </a:ext>
            </a:extLst>
          </p:cNvPr>
          <p:cNvSpPr txBox="1"/>
          <p:nvPr/>
        </p:nvSpPr>
        <p:spPr>
          <a:xfrm>
            <a:off x="6820396" y="7058000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6997097-AB8D-F6ED-CE63-B188EB94654E}"/>
              </a:ext>
            </a:extLst>
          </p:cNvPr>
          <p:cNvSpPr txBox="1"/>
          <p:nvPr/>
        </p:nvSpPr>
        <p:spPr>
          <a:xfrm>
            <a:off x="10036398" y="7400900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2B60924-1DA1-BB5F-E78C-BA48065021FF}"/>
              </a:ext>
            </a:extLst>
          </p:cNvPr>
          <p:cNvSpPr txBox="1"/>
          <p:nvPr/>
        </p:nvSpPr>
        <p:spPr>
          <a:xfrm>
            <a:off x="9726621" y="7975058"/>
            <a:ext cx="158417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dirty="0">
                <a:highlight>
                  <a:srgbClr val="FFFF00"/>
                </a:highlight>
              </a:rPr>
              <a:t>Nom du porteur de levier</a:t>
            </a:r>
          </a:p>
        </p:txBody>
      </p:sp>
      <p:pic>
        <p:nvPicPr>
          <p:cNvPr id="44" name="Image 43">
            <a:extLst>
              <a:ext uri="{FF2B5EF4-FFF2-40B4-BE49-F238E27FC236}">
                <a16:creationId xmlns:a16="http://schemas.microsoft.com/office/drawing/2014/main" id="{9DA4E01A-8BEA-49B2-B938-CB1A18639F8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8"/>
          <a:stretch/>
        </p:blipFill>
        <p:spPr>
          <a:xfrm>
            <a:off x="189816" y="85773"/>
            <a:ext cx="2482879" cy="122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3794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3DC8F05C-F513-4B35-8075-608CE6D8DA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16655" y="1331640"/>
            <a:ext cx="10822688" cy="6085860"/>
          </a:xfrm>
          <a:prstGeom prst="rect">
            <a:avLst/>
          </a:prstGeom>
        </p:spPr>
      </p:pic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780328AA-4BBC-4F02-8D63-21158D39279A}"/>
              </a:ext>
            </a:extLst>
          </p:cNvPr>
          <p:cNvSpPr/>
          <p:nvPr/>
        </p:nvSpPr>
        <p:spPr>
          <a:xfrm>
            <a:off x="3248119" y="8316416"/>
            <a:ext cx="9759762" cy="539270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Il est recommandé d’avoir les fiches actions à disposition pour une discussion plus détaillée sur le budget en cas de besoin</a:t>
            </a:r>
          </a:p>
        </p:txBody>
      </p:sp>
      <p:pic>
        <p:nvPicPr>
          <p:cNvPr id="40" name="Picture 4" descr="Attention ">
            <a:extLst>
              <a:ext uri="{FF2B5EF4-FFF2-40B4-BE49-F238E27FC236}">
                <a16:creationId xmlns:a16="http://schemas.microsoft.com/office/drawing/2014/main" id="{B9DB9F1F-B049-4013-8A25-FCD012E3DB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63666" y="8353604"/>
            <a:ext cx="551353" cy="536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753D4FB2-E766-4FBA-8ABC-69758F458EC4}"/>
              </a:ext>
            </a:extLst>
          </p:cNvPr>
          <p:cNvSpPr/>
          <p:nvPr/>
        </p:nvSpPr>
        <p:spPr>
          <a:xfrm>
            <a:off x="7263904" y="6588224"/>
            <a:ext cx="2735112" cy="1152128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Budget nécessaire à allouer par la direction ou le service concerné (=somme des budgets inscrits dans les fiches actions) 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D0EDF103-52DF-44FA-8EC9-EA4E71A1540B}"/>
              </a:ext>
            </a:extLst>
          </p:cNvPr>
          <p:cNvSpPr/>
          <p:nvPr/>
        </p:nvSpPr>
        <p:spPr>
          <a:xfrm>
            <a:off x="13168560" y="2987824"/>
            <a:ext cx="2448272" cy="1152128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Cette colonne permet de mettre en évidence d'éventuels points bloquants à arbitrer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18872D6F-1D1A-4BE0-A942-0AD681BA0D1A}"/>
              </a:ext>
            </a:extLst>
          </p:cNvPr>
          <p:cNvSpPr/>
          <p:nvPr/>
        </p:nvSpPr>
        <p:spPr>
          <a:xfrm>
            <a:off x="1179228" y="2843811"/>
            <a:ext cx="2088232" cy="1584169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 dirty="0">
                <a:solidFill>
                  <a:schemeClr val="tx1"/>
                </a:solidFill>
                <a:latin typeface="Marianne" panose="020B0604020202020204"/>
              </a:rPr>
              <a:t>Directions / services concernés par la feuille de route numérique responsable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D83AC904-97BC-42E5-B9DA-327B94E047F9}"/>
              </a:ext>
            </a:extLst>
          </p:cNvPr>
          <p:cNvSpPr/>
          <p:nvPr/>
        </p:nvSpPr>
        <p:spPr>
          <a:xfrm>
            <a:off x="13168560" y="5076056"/>
            <a:ext cx="2448272" cy="792088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Statut de la validation du budget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217258EE-B994-4338-9865-E3EA6A72B3FB}"/>
              </a:ext>
            </a:extLst>
          </p:cNvPr>
          <p:cNvCxnSpPr>
            <a:cxnSpLocks/>
          </p:cNvCxnSpPr>
          <p:nvPr/>
        </p:nvCxnSpPr>
        <p:spPr>
          <a:xfrm flipH="1">
            <a:off x="3447480" y="3635896"/>
            <a:ext cx="792088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97EEDD31-0186-4C0F-ADF3-9FBD866901B4}"/>
              </a:ext>
            </a:extLst>
          </p:cNvPr>
          <p:cNvSpPr/>
          <p:nvPr/>
        </p:nvSpPr>
        <p:spPr>
          <a:xfrm>
            <a:off x="4311576" y="6588224"/>
            <a:ext cx="2671047" cy="1115334"/>
          </a:xfrm>
          <a:prstGeom prst="roundRect">
            <a:avLst/>
          </a:prstGeom>
          <a:solidFill>
            <a:srgbClr val="FFFDF3"/>
          </a:solidFill>
          <a:ln w="12700">
            <a:solidFill>
              <a:srgbClr val="274084"/>
            </a:solidFill>
            <a:prstDash val="solid"/>
          </a:ln>
        </p:spPr>
        <p:txBody>
          <a:bodyPr vert="horz" wrap="square" lIns="91440" tIns="46800" rIns="91440" bIns="45720" rtlCol="0" anchor="ctr" anchorCtr="0">
            <a:noAutofit/>
          </a:bodyPr>
          <a:lstStyle/>
          <a:p>
            <a:pPr algn="ctr"/>
            <a:r>
              <a:rPr lang="fr-FR" sz="1400" b="1" i="1">
                <a:solidFill>
                  <a:schemeClr val="tx1"/>
                </a:solidFill>
                <a:latin typeface="Marianne" panose="020B0604020202020204"/>
              </a:rPr>
              <a:t>Moyen humain à allouer par la direction ou le service concerné (=somme des JH indiqués dans les fiches actions) 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9030F246-DAA9-4DCF-8DEF-FD1F25315A5B}"/>
              </a:ext>
            </a:extLst>
          </p:cNvPr>
          <p:cNvCxnSpPr>
            <a:cxnSpLocks/>
          </p:cNvCxnSpPr>
          <p:nvPr/>
        </p:nvCxnSpPr>
        <p:spPr>
          <a:xfrm>
            <a:off x="6687840" y="5868144"/>
            <a:ext cx="0" cy="648072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FB2587C9-AF30-4463-9D6B-01A363BBAE8E}"/>
              </a:ext>
            </a:extLst>
          </p:cNvPr>
          <p:cNvCxnSpPr>
            <a:cxnSpLocks/>
          </p:cNvCxnSpPr>
          <p:nvPr/>
        </p:nvCxnSpPr>
        <p:spPr>
          <a:xfrm>
            <a:off x="12232456" y="3635896"/>
            <a:ext cx="792088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493AC3E1-5285-4C0C-8B75-B85ED5EA7B77}"/>
              </a:ext>
            </a:extLst>
          </p:cNvPr>
          <p:cNvCxnSpPr>
            <a:cxnSpLocks/>
          </p:cNvCxnSpPr>
          <p:nvPr/>
        </p:nvCxnSpPr>
        <p:spPr>
          <a:xfrm>
            <a:off x="10360248" y="5436096"/>
            <a:ext cx="2664296" cy="0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C9ABB80A-6DA2-450B-9C3E-4E745B66E0B6}"/>
              </a:ext>
            </a:extLst>
          </p:cNvPr>
          <p:cNvCxnSpPr>
            <a:cxnSpLocks/>
          </p:cNvCxnSpPr>
          <p:nvPr/>
        </p:nvCxnSpPr>
        <p:spPr>
          <a:xfrm>
            <a:off x="7695952" y="5868144"/>
            <a:ext cx="0" cy="648072"/>
          </a:xfrm>
          <a:prstGeom prst="straightConnector1">
            <a:avLst/>
          </a:prstGeom>
          <a:ln w="38100">
            <a:solidFill>
              <a:srgbClr val="383C7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0EAB8E43-460B-67CC-4F24-5DB0A3658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517" y="788095"/>
            <a:ext cx="14254967" cy="615553"/>
          </a:xfrm>
        </p:spPr>
        <p:txBody>
          <a:bodyPr/>
          <a:lstStyle/>
          <a:p>
            <a:r>
              <a:rPr lang="fr-FR" sz="4000" dirty="0"/>
              <a:t>Mode d’emploi - Vision budgétaire consolidée </a:t>
            </a:r>
          </a:p>
        </p:txBody>
      </p:sp>
    </p:spTree>
    <p:extLst>
      <p:ext uri="{BB962C8B-B14F-4D97-AF65-F5344CB8AC3E}">
        <p14:creationId xmlns:p14="http://schemas.microsoft.com/office/powerpoint/2010/main" val="555492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45229B77-2543-4D2A-820B-FEB1651B348F}"/>
              </a:ext>
            </a:extLst>
          </p:cNvPr>
          <p:cNvGraphicFramePr>
            <a:graphicFrameLocks noGrp="1"/>
          </p:cNvGraphicFramePr>
          <p:nvPr/>
        </p:nvGraphicFramePr>
        <p:xfrm>
          <a:off x="1719288" y="2411761"/>
          <a:ext cx="12961438" cy="51907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514555">
                  <a:extLst>
                    <a:ext uri="{9D8B030D-6E8A-4147-A177-3AD203B41FA5}">
                      <a16:colId xmlns:a16="http://schemas.microsoft.com/office/drawing/2014/main" val="2697564119"/>
                    </a:ext>
                  </a:extLst>
                </a:gridCol>
                <a:gridCol w="1667358">
                  <a:extLst>
                    <a:ext uri="{9D8B030D-6E8A-4147-A177-3AD203B41FA5}">
                      <a16:colId xmlns:a16="http://schemas.microsoft.com/office/drawing/2014/main" val="2210888752"/>
                    </a:ext>
                  </a:extLst>
                </a:gridCol>
                <a:gridCol w="1667358">
                  <a:extLst>
                    <a:ext uri="{9D8B030D-6E8A-4147-A177-3AD203B41FA5}">
                      <a16:colId xmlns:a16="http://schemas.microsoft.com/office/drawing/2014/main" val="1252586957"/>
                    </a:ext>
                  </a:extLst>
                </a:gridCol>
                <a:gridCol w="1667358">
                  <a:extLst>
                    <a:ext uri="{9D8B030D-6E8A-4147-A177-3AD203B41FA5}">
                      <a16:colId xmlns:a16="http://schemas.microsoft.com/office/drawing/2014/main" val="1651718113"/>
                    </a:ext>
                  </a:extLst>
                </a:gridCol>
                <a:gridCol w="1667358">
                  <a:extLst>
                    <a:ext uri="{9D8B030D-6E8A-4147-A177-3AD203B41FA5}">
                      <a16:colId xmlns:a16="http://schemas.microsoft.com/office/drawing/2014/main" val="4252521593"/>
                    </a:ext>
                  </a:extLst>
                </a:gridCol>
                <a:gridCol w="493769">
                  <a:extLst>
                    <a:ext uri="{9D8B030D-6E8A-4147-A177-3AD203B41FA5}">
                      <a16:colId xmlns:a16="http://schemas.microsoft.com/office/drawing/2014/main" val="2565203894"/>
                    </a:ext>
                  </a:extLst>
                </a:gridCol>
                <a:gridCol w="2283682">
                  <a:extLst>
                    <a:ext uri="{9D8B030D-6E8A-4147-A177-3AD203B41FA5}">
                      <a16:colId xmlns:a16="http://schemas.microsoft.com/office/drawing/2014/main" val="463642352"/>
                    </a:ext>
                  </a:extLst>
                </a:gridCol>
              </a:tblGrid>
              <a:tr h="672780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Directions / Services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Moyens humains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(JH)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Budget en euros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Ligne budgétaire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Statut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600" b="1">
                        <a:solidFill>
                          <a:schemeClr val="bg1"/>
                        </a:solidFill>
                        <a:latin typeface="Marianne" panose="020B0604020202020204"/>
                      </a:endParaRP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>
                          <a:solidFill>
                            <a:schemeClr val="bg1"/>
                          </a:solidFill>
                          <a:latin typeface="Marianne" panose="020B0604020202020204"/>
                        </a:rPr>
                        <a:t>Arbitrage par le COPIL</a:t>
                      </a:r>
                    </a:p>
                  </a:txBody>
                  <a:tcPr anchor="ctr"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5236670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Direction / Service XX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2000">
                        <a:latin typeface="Marianne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2000">
                        <a:latin typeface="Marianne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4229116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Direction / Service XX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957532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Direction / Service XX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425544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Marianne" panose="020B0604020202020204"/>
                          <a:ea typeface="+mn-ea"/>
                          <a:cs typeface="+mn-cs"/>
                        </a:rPr>
                        <a:t>Direction / Service XX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909971"/>
                  </a:ext>
                </a:extLst>
              </a:tr>
              <a:tr h="87355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>
                          <a:solidFill>
                            <a:schemeClr val="dk1"/>
                          </a:solidFill>
                          <a:latin typeface="Marianne" panose="020B0604020202020204"/>
                          <a:ea typeface="+mn-ea"/>
                          <a:cs typeface="+mn-cs"/>
                        </a:rPr>
                        <a:t>…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2000">
                        <a:latin typeface="Marianne" panose="020B0604020202020204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20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Marianne" panose="020B0604020202020204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3339644"/>
                  </a:ext>
                </a:extLst>
              </a:tr>
            </a:tbl>
          </a:graphicData>
        </a:graphic>
      </p:graphicFrame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6B138E11-17B6-4D02-9F9A-6B97BA3ABD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8874" y="8067433"/>
            <a:ext cx="358285" cy="359999"/>
          </a:xfrm>
          <a:prstGeom prst="rect">
            <a:avLst/>
          </a:prstGeom>
        </p:spPr>
      </p:pic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F7FF47A1-7C96-4A51-BE5B-27B413A098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999" y="8034252"/>
            <a:ext cx="360788" cy="360788"/>
          </a:xfrm>
          <a:prstGeom prst="rect">
            <a:avLst/>
          </a:prstGeom>
        </p:spPr>
      </p:pic>
      <p:sp>
        <p:nvSpPr>
          <p:cNvPr id="14" name="object 18">
            <a:extLst>
              <a:ext uri="{FF2B5EF4-FFF2-40B4-BE49-F238E27FC236}">
                <a16:creationId xmlns:a16="http://schemas.microsoft.com/office/drawing/2014/main" id="{67406D09-FF68-44FA-A40C-BE3FB0E5A446}"/>
              </a:ext>
            </a:extLst>
          </p:cNvPr>
          <p:cNvSpPr txBox="1"/>
          <p:nvPr/>
        </p:nvSpPr>
        <p:spPr>
          <a:xfrm>
            <a:off x="4284986" y="8100891"/>
            <a:ext cx="1363761" cy="26096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  <a:tabLst>
                <a:tab pos="4914265" algn="l"/>
              </a:tabLst>
            </a:pPr>
            <a:r>
              <a:rPr lang="fr-FR" sz="1600" i="1" spc="1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Validé</a:t>
            </a:r>
            <a:endParaRPr sz="1600" i="1" dirty="0">
              <a:latin typeface="Marianne" charset="0"/>
              <a:ea typeface="Marianne" charset="0"/>
              <a:cs typeface="Marianne" charset="0"/>
            </a:endParaRPr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DABEA097-6C49-4B5B-8A3F-338D9607ADB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035" y="8078653"/>
            <a:ext cx="360788" cy="360788"/>
          </a:xfrm>
          <a:prstGeom prst="rect">
            <a:avLst/>
          </a:prstGeom>
        </p:spPr>
      </p:pic>
      <p:sp>
        <p:nvSpPr>
          <p:cNvPr id="16" name="object 18">
            <a:extLst>
              <a:ext uri="{FF2B5EF4-FFF2-40B4-BE49-F238E27FC236}">
                <a16:creationId xmlns:a16="http://schemas.microsoft.com/office/drawing/2014/main" id="{4598B99A-CAF3-4AA1-A69D-33EBB38E6085}"/>
              </a:ext>
            </a:extLst>
          </p:cNvPr>
          <p:cNvSpPr txBox="1"/>
          <p:nvPr/>
        </p:nvSpPr>
        <p:spPr>
          <a:xfrm>
            <a:off x="6255792" y="8136997"/>
            <a:ext cx="2075887" cy="26096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  <a:tabLst>
                <a:tab pos="4914265" algn="l"/>
              </a:tabLst>
            </a:pPr>
            <a:r>
              <a:rPr lang="fr-FR" sz="1600" i="1" spc="1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Validation en cours</a:t>
            </a:r>
            <a:endParaRPr sz="1600" i="1" dirty="0">
              <a:latin typeface="Marianne" charset="0"/>
              <a:ea typeface="Marianne" charset="0"/>
              <a:cs typeface="Marianne" charset="0"/>
            </a:endParaRPr>
          </a:p>
        </p:txBody>
      </p:sp>
      <p:sp>
        <p:nvSpPr>
          <p:cNvPr id="17" name="object 18">
            <a:extLst>
              <a:ext uri="{FF2B5EF4-FFF2-40B4-BE49-F238E27FC236}">
                <a16:creationId xmlns:a16="http://schemas.microsoft.com/office/drawing/2014/main" id="{D4208849-3F60-429E-B867-4C7638258F85}"/>
              </a:ext>
            </a:extLst>
          </p:cNvPr>
          <p:cNvSpPr txBox="1"/>
          <p:nvPr/>
        </p:nvSpPr>
        <p:spPr>
          <a:xfrm>
            <a:off x="9280128" y="8134072"/>
            <a:ext cx="1781871" cy="260968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  <a:tabLst>
                <a:tab pos="4914265" algn="l"/>
              </a:tabLst>
            </a:pPr>
            <a:r>
              <a:rPr lang="fr-FR" sz="1600" i="1" spc="10" dirty="0">
                <a:solidFill>
                  <a:srgbClr val="2C3176"/>
                </a:solidFill>
                <a:latin typeface="Marianne" charset="0"/>
                <a:ea typeface="Marianne" charset="0"/>
                <a:cs typeface="Marianne" charset="0"/>
              </a:rPr>
              <a:t>A valider</a:t>
            </a:r>
            <a:endParaRPr sz="1600" i="1" dirty="0">
              <a:latin typeface="Marianne" charset="0"/>
              <a:ea typeface="Marianne" charset="0"/>
              <a:cs typeface="Marianne" charset="0"/>
            </a:endParaRPr>
          </a:p>
        </p:txBody>
      </p:sp>
      <p:pic>
        <p:nvPicPr>
          <p:cNvPr id="18" name="Picture 2" descr="Pencil ">
            <a:extLst>
              <a:ext uri="{FF2B5EF4-FFF2-40B4-BE49-F238E27FC236}">
                <a16:creationId xmlns:a16="http://schemas.microsoft.com/office/drawing/2014/main" id="{6FFE1FB5-66D8-4E71-BE20-519E49459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7320" y="3059832"/>
            <a:ext cx="60960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021C3B6-7154-A787-577E-ECFC96D6E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0517" y="471574"/>
            <a:ext cx="14254967" cy="615553"/>
          </a:xfrm>
        </p:spPr>
        <p:txBody>
          <a:bodyPr/>
          <a:lstStyle/>
          <a:p>
            <a:r>
              <a:rPr lang="fr-FR" sz="4000" dirty="0"/>
              <a:t>Vision budgétaire consolidée</a:t>
            </a:r>
          </a:p>
        </p:txBody>
      </p:sp>
    </p:spTree>
    <p:extLst>
      <p:ext uri="{BB962C8B-B14F-4D97-AF65-F5344CB8AC3E}">
        <p14:creationId xmlns:p14="http://schemas.microsoft.com/office/powerpoint/2010/main" val="1452748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apgemini Master 2021">
  <a:themeElements>
    <a:clrScheme name="Custom 2">
      <a:dk1>
        <a:sysClr val="windowText" lastClr="000000"/>
      </a:dk1>
      <a:lt1>
        <a:srgbClr val="FFFFFF"/>
      </a:lt1>
      <a:dk2>
        <a:srgbClr val="2B143D"/>
      </a:dk2>
      <a:lt2>
        <a:srgbClr val="E6E7E7"/>
      </a:lt2>
      <a:accent1>
        <a:srgbClr val="3DE484"/>
      </a:accent1>
      <a:accent2>
        <a:srgbClr val="00C37B"/>
      </a:accent2>
      <a:accent3>
        <a:srgbClr val="0070AD"/>
      </a:accent3>
      <a:accent4>
        <a:srgbClr val="12ABDB"/>
      </a:accent4>
      <a:accent5>
        <a:srgbClr val="2B143D"/>
      </a:accent5>
      <a:accent6>
        <a:srgbClr val="FF304C"/>
      </a:accent6>
      <a:hlink>
        <a:srgbClr val="88D5ED"/>
      </a:hlink>
      <a:folHlink>
        <a:srgbClr val="7E39BA"/>
      </a:folHlink>
    </a:clrScheme>
    <a:fontScheme name="Capgemini 2021">
      <a:majorFont>
        <a:latin typeface="Ubuntu Medium"/>
        <a:ea typeface=""/>
        <a:cs typeface=""/>
      </a:majorFont>
      <a:minorFont>
        <a:latin typeface="Ubuntu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Capgemini_SCF Program.potx" id="{648C62E2-734F-4FA7-96E0-C8F16713E41A}" vid="{0E4E43FA-7924-45E7-A9F5-7459220F09F0}"/>
    </a:ext>
  </a:extLst>
</a:theme>
</file>

<file path=ppt/theme/theme4.xml><?xml version="1.0" encoding="utf-8"?>
<a:theme xmlns:a="http://schemas.openxmlformats.org/drawingml/2006/main" name="2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0a858bc-b19d-4d92-a6f0-3eb7f146635e">
      <Terms xmlns="http://schemas.microsoft.com/office/infopath/2007/PartnerControls"/>
    </lcf76f155ced4ddcb4097134ff3c332f>
    <TaxCatchAll xmlns="b4304807-af67-4394-b1cc-13a8c181bc53" xsi:nil="true"/>
    <SharedWithUsers xmlns="b4304807-af67-4394-b1cc-13a8c181bc53">
      <UserInfo>
        <DisplayName>BOUVIER, Maelle</DisplayName>
        <AccountId>9</AccountId>
        <AccountType/>
      </UserInfo>
      <UserInfo>
        <DisplayName>FENG, Yucen</DisplayName>
        <AccountId>22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ABF071EC5FD74EA0222A382BA34C08" ma:contentTypeVersion="11" ma:contentTypeDescription="Create a new document." ma:contentTypeScope="" ma:versionID="d1fca53e746bee82d394b249c2768aa7">
  <xsd:schema xmlns:xsd="http://www.w3.org/2001/XMLSchema" xmlns:xs="http://www.w3.org/2001/XMLSchema" xmlns:p="http://schemas.microsoft.com/office/2006/metadata/properties" xmlns:ns2="70a858bc-b19d-4d92-a6f0-3eb7f146635e" xmlns:ns3="b4304807-af67-4394-b1cc-13a8c181bc53" targetNamespace="http://schemas.microsoft.com/office/2006/metadata/properties" ma:root="true" ma:fieldsID="79506d62397ffb79c9023faba63ba8ab" ns2:_="" ns3:_="">
    <xsd:import namespace="70a858bc-b19d-4d92-a6f0-3eb7f146635e"/>
    <xsd:import namespace="b4304807-af67-4394-b1cc-13a8c181bc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a858bc-b19d-4d92-a6f0-3eb7f146635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b3623ea3-be23-4189-a25b-bcadb097e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304807-af67-4394-b1cc-13a8c181bc5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dcde11a9-839a-425a-afe4-dde1e3626ca3}" ma:internalName="TaxCatchAll" ma:showField="CatchAllData" ma:web="b4304807-af67-4394-b1cc-13a8c181bc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15FE61A-E169-45AB-9C91-45045551FEA8}">
  <ds:schemaRefs>
    <ds:schemaRef ds:uri="http://purl.org/dc/elements/1.1/"/>
    <ds:schemaRef ds:uri="b4304807-af67-4394-b1cc-13a8c181bc53"/>
    <ds:schemaRef ds:uri="http://purl.org/dc/terms/"/>
    <ds:schemaRef ds:uri="http://schemas.microsoft.com/office/2006/documentManagement/types"/>
    <ds:schemaRef ds:uri="http://purl.org/dc/dcmitype/"/>
    <ds:schemaRef ds:uri="70a858bc-b19d-4d92-a6f0-3eb7f146635e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8902D002-7044-4203-B1DD-B3E67234A45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BB6E796-4E2F-4FDB-B134-C1F400E342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a858bc-b19d-4d92-a6f0-3eb7f146635e"/>
    <ds:schemaRef ds:uri="b4304807-af67-4394-b1cc-13a8c181bc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</TotalTime>
  <Words>1131</Words>
  <Application>Microsoft Office PowerPoint</Application>
  <PresentationFormat>Personnalisé</PresentationFormat>
  <Paragraphs>247</Paragraphs>
  <Slides>21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1</vt:i4>
      </vt:variant>
    </vt:vector>
  </HeadingPairs>
  <TitlesOfParts>
    <vt:vector size="37" baseType="lpstr">
      <vt:lpstr>Arial</vt:lpstr>
      <vt:lpstr>Calibri</vt:lpstr>
      <vt:lpstr>Calibri Light</vt:lpstr>
      <vt:lpstr>Marianne</vt:lpstr>
      <vt:lpstr>Marianne ExtraBold</vt:lpstr>
      <vt:lpstr>Raleway</vt:lpstr>
      <vt:lpstr>Ubuntu</vt:lpstr>
      <vt:lpstr>Ubuntu Medium</vt:lpstr>
      <vt:lpstr>Ubuntu Regular</vt:lpstr>
      <vt:lpstr>Verdana</vt:lpstr>
      <vt:lpstr>Wingdings</vt:lpstr>
      <vt:lpstr>Office Theme</vt:lpstr>
      <vt:lpstr>1_Office Theme</vt:lpstr>
      <vt:lpstr>2_Capgemini Master 2021</vt:lpstr>
      <vt:lpstr>2_Thème Office</vt:lpstr>
      <vt:lpstr>think-cell Slide</vt:lpstr>
      <vt:lpstr>Présentation PowerPoint</vt:lpstr>
      <vt:lpstr>Présentation PowerPoint</vt:lpstr>
      <vt:lpstr>Formalisation de la feuille de route</vt:lpstr>
      <vt:lpstr>Présentation PowerPoint</vt:lpstr>
      <vt:lpstr>Vision synthétique de la feuille de route</vt:lpstr>
      <vt:lpstr>Liste des X leviers priorisés</vt:lpstr>
      <vt:lpstr>Présentation PowerPoint</vt:lpstr>
      <vt:lpstr>Mode d’emploi - Vision budgétaire consolidée </vt:lpstr>
      <vt:lpstr>Vision budgétaire consolidée</vt:lpstr>
      <vt:lpstr>Vision budgétaire consolidée Leviers restants à financer</vt:lpstr>
      <vt:lpstr>Fiches actions détaillé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Gouvernance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́sentation PPT ANCT</dc:title>
  <dc:creator>ANCT</dc:creator>
  <cp:lastModifiedBy>GODEFROY Nathan</cp:lastModifiedBy>
  <cp:revision>7</cp:revision>
  <dcterms:created xsi:type="dcterms:W3CDTF">2022-09-01T08:45:33Z</dcterms:created>
  <dcterms:modified xsi:type="dcterms:W3CDTF">2024-03-21T13:1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9-01T00:00:00Z</vt:filetime>
  </property>
  <property fmtid="{D5CDD505-2E9C-101B-9397-08002B2CF9AE}" pid="3" name="Creator">
    <vt:lpwstr>Adobe Illustrator 25.0 (Macintosh)</vt:lpwstr>
  </property>
  <property fmtid="{D5CDD505-2E9C-101B-9397-08002B2CF9AE}" pid="4" name="LastSaved">
    <vt:filetime>2022-09-01T00:00:00Z</vt:filetime>
  </property>
  <property fmtid="{D5CDD505-2E9C-101B-9397-08002B2CF9AE}" pid="5" name="ContentTypeId">
    <vt:lpwstr>0x01010069ABF071EC5FD74EA0222A382BA34C08</vt:lpwstr>
  </property>
  <property fmtid="{D5CDD505-2E9C-101B-9397-08002B2CF9AE}" pid="6" name="MediaServiceImageTags">
    <vt:lpwstr/>
  </property>
</Properties>
</file>